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7"/>
  </p:notesMasterIdLst>
  <p:sldIdLst>
    <p:sldId id="978" r:id="rId2"/>
    <p:sldId id="970" r:id="rId3"/>
    <p:sldId id="1058" r:id="rId4"/>
    <p:sldId id="1059" r:id="rId5"/>
    <p:sldId id="1060" r:id="rId6"/>
    <p:sldId id="1061" r:id="rId7"/>
    <p:sldId id="1062" r:id="rId8"/>
    <p:sldId id="1063" r:id="rId9"/>
    <p:sldId id="971" r:id="rId10"/>
    <p:sldId id="972" r:id="rId11"/>
    <p:sldId id="973" r:id="rId12"/>
    <p:sldId id="974" r:id="rId13"/>
    <p:sldId id="975" r:id="rId14"/>
    <p:sldId id="976" r:id="rId15"/>
    <p:sldId id="977" r:id="rId16"/>
    <p:sldId id="979" r:id="rId17"/>
    <p:sldId id="980" r:id="rId18"/>
    <p:sldId id="981" r:id="rId19"/>
    <p:sldId id="995" r:id="rId20"/>
    <p:sldId id="983" r:id="rId21"/>
    <p:sldId id="984" r:id="rId22"/>
    <p:sldId id="986" r:id="rId23"/>
    <p:sldId id="987" r:id="rId24"/>
    <p:sldId id="988" r:id="rId25"/>
    <p:sldId id="989" r:id="rId26"/>
    <p:sldId id="990" r:id="rId27"/>
    <p:sldId id="991" r:id="rId28"/>
    <p:sldId id="992" r:id="rId29"/>
    <p:sldId id="993" r:id="rId30"/>
    <p:sldId id="994" r:id="rId31"/>
    <p:sldId id="985" r:id="rId32"/>
    <p:sldId id="996" r:id="rId33"/>
    <p:sldId id="997" r:id="rId34"/>
    <p:sldId id="998" r:id="rId35"/>
    <p:sldId id="999" r:id="rId36"/>
    <p:sldId id="1000" r:id="rId37"/>
    <p:sldId id="1001" r:id="rId38"/>
    <p:sldId id="1002" r:id="rId39"/>
    <p:sldId id="1003" r:id="rId40"/>
    <p:sldId id="1004" r:id="rId41"/>
    <p:sldId id="1005" r:id="rId42"/>
    <p:sldId id="1007" r:id="rId43"/>
    <p:sldId id="1008" r:id="rId44"/>
    <p:sldId id="1009" r:id="rId45"/>
    <p:sldId id="1010" r:id="rId46"/>
    <p:sldId id="1011" r:id="rId47"/>
    <p:sldId id="1012" r:id="rId48"/>
    <p:sldId id="1013" r:id="rId49"/>
    <p:sldId id="1014" r:id="rId50"/>
    <p:sldId id="1064" r:id="rId51"/>
    <p:sldId id="1065" r:id="rId52"/>
    <p:sldId id="1109" r:id="rId53"/>
    <p:sldId id="1066" r:id="rId54"/>
    <p:sldId id="1067" r:id="rId55"/>
    <p:sldId id="1068" r:id="rId56"/>
    <p:sldId id="1069" r:id="rId57"/>
    <p:sldId id="1070" r:id="rId58"/>
    <p:sldId id="1071" r:id="rId59"/>
    <p:sldId id="1074" r:id="rId60"/>
    <p:sldId id="1015" r:id="rId61"/>
    <p:sldId id="1016" r:id="rId62"/>
    <p:sldId id="1017" r:id="rId63"/>
    <p:sldId id="1018" r:id="rId64"/>
    <p:sldId id="1019" r:id="rId65"/>
    <p:sldId id="1020" r:id="rId66"/>
    <p:sldId id="1021" r:id="rId67"/>
    <p:sldId id="1022" r:id="rId68"/>
    <p:sldId id="1023" r:id="rId69"/>
    <p:sldId id="1024" r:id="rId70"/>
    <p:sldId id="1025" r:id="rId71"/>
    <p:sldId id="1026" r:id="rId72"/>
    <p:sldId id="1030" r:id="rId73"/>
    <p:sldId id="1031" r:id="rId74"/>
    <p:sldId id="1027" r:id="rId75"/>
    <p:sldId id="1028" r:id="rId76"/>
    <p:sldId id="1032" r:id="rId77"/>
    <p:sldId id="1033" r:id="rId78"/>
    <p:sldId id="1034" r:id="rId79"/>
    <p:sldId id="1029" r:id="rId80"/>
    <p:sldId id="1035" r:id="rId81"/>
    <p:sldId id="1075" r:id="rId82"/>
    <p:sldId id="1036" r:id="rId83"/>
    <p:sldId id="1037" r:id="rId84"/>
    <p:sldId id="1076" r:id="rId85"/>
    <p:sldId id="1077" r:id="rId86"/>
    <p:sldId id="1038" r:id="rId87"/>
    <p:sldId id="1078" r:id="rId88"/>
    <p:sldId id="1039" r:id="rId89"/>
    <p:sldId id="1040" r:id="rId90"/>
    <p:sldId id="1041" r:id="rId91"/>
    <p:sldId id="1042" r:id="rId92"/>
    <p:sldId id="1043" r:id="rId93"/>
    <p:sldId id="1106" r:id="rId94"/>
    <p:sldId id="1107" r:id="rId95"/>
    <p:sldId id="1108" r:id="rId96"/>
    <p:sldId id="1090" r:id="rId97"/>
    <p:sldId id="1091" r:id="rId98"/>
    <p:sldId id="1092" r:id="rId99"/>
    <p:sldId id="1093" r:id="rId100"/>
    <p:sldId id="1094" r:id="rId101"/>
    <p:sldId id="1095" r:id="rId102"/>
    <p:sldId id="1099" r:id="rId103"/>
    <p:sldId id="1096" r:id="rId104"/>
    <p:sldId id="1097" r:id="rId105"/>
    <p:sldId id="1098" r:id="rId106"/>
    <p:sldId id="1100" r:id="rId107"/>
    <p:sldId id="1101" r:id="rId108"/>
    <p:sldId id="1102" r:id="rId109"/>
    <p:sldId id="1103" r:id="rId110"/>
    <p:sldId id="1104" r:id="rId111"/>
    <p:sldId id="1105" r:id="rId112"/>
    <p:sldId id="1080" r:id="rId113"/>
    <p:sldId id="1079" r:id="rId114"/>
    <p:sldId id="1044" r:id="rId115"/>
    <p:sldId id="1045" r:id="rId116"/>
    <p:sldId id="1046" r:id="rId117"/>
    <p:sldId id="1047" r:id="rId118"/>
    <p:sldId id="1048" r:id="rId119"/>
    <p:sldId id="1049" r:id="rId120"/>
    <p:sldId id="1050" r:id="rId121"/>
    <p:sldId id="1051" r:id="rId122"/>
    <p:sldId id="1052" r:id="rId123"/>
    <p:sldId id="1053" r:id="rId124"/>
    <p:sldId id="1054" r:id="rId125"/>
    <p:sldId id="1055" r:id="rId126"/>
    <p:sldId id="1056" r:id="rId127"/>
    <p:sldId id="1081" r:id="rId128"/>
    <p:sldId id="1082" r:id="rId129"/>
    <p:sldId id="1083" r:id="rId130"/>
    <p:sldId id="1084" r:id="rId131"/>
    <p:sldId id="1085" r:id="rId132"/>
    <p:sldId id="1086" r:id="rId133"/>
    <p:sldId id="1087" r:id="rId134"/>
    <p:sldId id="1088" r:id="rId135"/>
    <p:sldId id="1089" r:id="rId136"/>
  </p:sldIdLst>
  <p:sldSz cx="12192000" cy="6858000"/>
  <p:notesSz cx="6797675" cy="9926638"/>
  <p:custDataLst>
    <p:tags r:id="rId138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F39C12"/>
    <a:srgbClr val="FFC000"/>
    <a:srgbClr val="2980B9"/>
    <a:srgbClr val="B9DAFF"/>
    <a:srgbClr val="003876"/>
    <a:srgbClr val="C03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9" autoAdjust="0"/>
    <p:restoredTop sz="75305" autoAdjust="0"/>
  </p:normalViewPr>
  <p:slideViewPr>
    <p:cSldViewPr snapToGrid="0">
      <p:cViewPr varScale="1">
        <p:scale>
          <a:sx n="94" d="100"/>
          <a:sy n="94" d="100"/>
        </p:scale>
        <p:origin x="1454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tags" Target="tags/tag1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presProps" Target="presProps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tableStyles" Target="tableStyles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6" Type="http://schemas.openxmlformats.org/officeDocument/2006/relationships/slide" Target="slides/slide15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3:57.38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312 2,'-451'-1,"-537"3,85 20,466 1,341-12,0 5,-143 42,-260 54,226-60,257-48,1-1,-1 2,0 0,1 1,0 1,1 0,-1 1,1 1,1 0,0 1,0 0,1 1,0 0,1 1,0 0,1 1,0 0,-7 15,6-10,1 1,1-1,1 2,0-1,1 1,-7 40,12-44,1 1,0-1,1 1,1 0,0-1,1 0,1 1,1-1,7 23,2-7,1 0,2-1,1-1,1 0,2-2,1 0,0-1,29 26,-7-12,2-2,1-2,100 60,-92-69,2-2,0-2,2-2,0-4,98 19,310 23,-462-60,370 33,219 20,-527-46,538 41,-574-47,0-1,33-6,-50 4,-1 0,0-2,1 1,-1-2,-1 1,1-2,15-9,83-52,108-70,-191 118,-1-1,-1-1,-1-1,-1-1,-1-1,-1-1,-1-1,-2-1,22-40,-28 43,-1 0,-2 0,0-1,-2 0,0-1,-2 1,-1-1,-1 0,-1-1,-1 1,-1 0,-5-34,-3 28,-1 2,-1-1,-1 1,-2 1,-26-45,2 0,-37-94,67 152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17.93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53 51,'-1'-1,"1"0,0 0,-1 0,1 0,-1 0,0 0,1 0,-1 0,0 0,1 0,-1 1,0-1,0 0,0 1,0-1,1 0,-1 1,0-1,-2 0,-24-10,24 10,-19-5,-1 1,0 1,-1 1,1 1,0 1,-45 4,9-1,32-1,1 1,-1 2,-45 11,-78 33,30-8,108-36,1 0,-1 0,1 1,0 1,0 0,1 0,0 1,0 0,0 1,1 0,0 0,1 1,0 0,0 1,1 0,0 0,0 0,2 1,-1 0,-6 20,8-16,-2 3,1 1,1 1,-2 20,6-34,-1 0,2 1,-1-1,1 0,0 0,0 0,0 0,1 0,0 0,0-1,1 1,-1 0,1-1,4 6,10 9,1-1,1 0,0-2,1 0,1-1,1-1,31 16,-21-14,2-2,0-1,1-1,68 14,148 12,-239-37,17 2,68 5,-88-9,0 0,-1 0,1-1,-1 0,1-1,-1 0,1 0,14-7,-20 7,1 0,-1-1,0 1,0-1,0 0,0 0,0 0,-1 0,1-1,-1 1,0 0,0-1,0 0,-1 0,1 1,-1-1,0 0,0 0,0 0,0-6,1-10,-1-1,-3-40,0 14,10-36,-4 57,1-48,-5 66,0 0,-1 0,0 0,-1 0,0 0,0 1,0-1,-1 0,-1 1,-4-9,-26-33,20 28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47.08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29 0,'-4'0,"-1"8,-4 14,-4 11,-4 7,2 2,-2-4,3-3,0-9,2-4,4-6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47.52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19'1,"1"1,0 1,-1 1,0 0,0 2,0 0,0 1,-1 1,0 1,-1 0,0 1,0 1,15 14,-27-20,0 0,0 1,-1-1,0 1,0 0,-1 0,0 0,0 1,0-1,-1 1,0-1,0 1,0 0,-1 0,0 0,0 8,0 14,-1 1,-6 39,-1-20,-1-1,-20 59,-39 89,57-169,4-10,0-3,0 1,2 0,0 1,0-1,-1 23,6-16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48.08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5 1,'-4'13,"0"0,1 0,0 0,1 0,0 1,1-1,1 21,-1-6,-1 9,0-5,1 0,2-1,5 40,-5-66,0 1,1-1,0 0,0 0,0 0,0-1,1 1,0 0,0-1,0 0,0 0,1 0,0 0,0 0,0-1,0 1,0-1,1 0,6 3,1 0,1-1,-1-1,1 0,0 0,0-1,21 2,-30-5,-1 0,0 0,1 0,-1 0,0-1,0 1,1-1,-1 0,0 0,0 0,0 0,0-1,0 1,0-1,0 0,0 0,-1 0,1 0,-1 0,1 0,-1-1,0 1,0-1,0 0,0 1,0-1,-1 0,1 0,1-5,3-8,-1-1,-1 1,0-1,1-24,-4 39,6-74,-4-111,-4 158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51.06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97,'1'-15,"1"1,0 0,1 0,1 0,0 0,0 1,2-1,0 1,0 0,1 1,0 0,1 0,14-16,-15 20,0 0,0 0,0 1,1 0,0 1,1-1,-1 2,1-1,0 1,0 0,1 1,0 0,-1 1,1 0,1 0,-1 1,0 1,0 0,14-1,-17 3,1 1,-1-1,0 1,1 1,-1-1,0 1,-1 0,1 1,0-1,-1 1,0 1,11 9,3 5,-1 1,19 26,-15-18,-17-22,-1 1,1 0,-2-1,1 2,-1-1,0 0,0 1,-1 0,0 0,-1 0,0 0,0 1,0-1,-1 0,-1 1,1 8,-2 2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26:45.07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559'35,"-9"42,-336-45,367 56,664 92,2468 349,-21 59,-2871-452,-59-3,-68-7,-72-5,62 23,124 24,-6-33,-127-81,-572-54,-1-4,0-6,0-3,154-41,-159 20,-2-3,103-56,85-36,-126 76,3 6,1 7,201-23,504-4,-470 42,-289 13,176-45,-84 5,293-37,475 8,-59 8,168-65,-699 87,-365 49,211-33,-176 25,-1-2,76-31,-92 32,1 0,0 2,0 1,60-6,132 4,-150 9,453-3,154-5,-3-40,-559 34,0-6,208-65,-304 77,-1-1,0-1,0 0,-1-2,21-17,-26 20,9-5,0 1,52-21,-7 5,2-4,-36 16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26:46.03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7068 0,'-162'9,"-24"-4,-97-1,-128-1,-138-2,-128-4,-122-1,-95-1,710 4,-4426 9,-1489 45,5079-52,55 0,79 7,86 8,100 9,95 9,90 10,86 9,80 0,-507 118,148 6,672-167,-422 109,308-88,-168 15,-25-39,220-9,-152 17,-213 63,-408 82,309-59,442-74,-213 34,349-59,-1-1,1-1,0 1,0-2,0 1,-10-3,15 2,-1 0,1-1,0 0,-1 0,1 0,0 0,0 0,1-1,-1 0,0 0,1 0,0 0,-1-1,-2-3,-3-6,1 0,-12-23,-11-36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26:46.55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3,'155'-4,"45"-1,129 1,154 6,158 17,157 25,145 26,136 23,114 20,93 11,74 5,2503 245,-2020-194,-488-46,-66 3,-68 4,-88 1,-109-8,-109-9,-109-11,-123-18,-123-18,-114-19,-104-18,153 4,-248-24,-87 2,-150-20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26:47.14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3557 91,'-50'-10,"-65"-4,79 11,-178-15,-77 1,-72 4,-58 3,-62 5,-72 5,-84 16,-69 8,-61 2,-66 1,370-12,-1661 58,-6 55,-798 212,1450-103,165-26,-2-27,362-80,95-31,121-25,129-18,125-9,110 2,164-2,0 10,-312 86,417-87,-302 78,330-93,-1-2,0-4,-100-2,159-7,0-1,0-1,0-1,0 0,-24-9,35 9,1 0,1-1,-1 0,0 0,1-1,0 0,0 0,1-1,-1 0,1 0,0 0,1-1,-1 0,-7-13,-9-25,1-2,-29-97,26 70,-20-54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26:47.68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 235,'0'0,"0"0,0 0,0 0,0 0,1 0,-1 0,0 0,0 0,0-1,0 1,0 0,0 0,0 0,0 0,0 0,0 0,0 0,0 0,-1 0,1 0,0 0,0 0,0 0,0-1,0 1,0 0,0 0,0 0,0 0,0 0,0 0,0 0,0 0,0 0,0 0,0 0,0 0,0 0,0 0,-1 0,1 0,0 0,0 0,0 0,0 0,0 0,0 0,0 0,0 0,0 0,0 0,13-7,36-11,54-14,1 5,124-17,270-13,304 15,363 37,388 52,341 59,266 49,2506 192,-2397-180,-156 3,-216 4,-275 1,-319-13,-332-25,-314-30,-266-32,-203-27,-177-45,0 1,-1 1,1 0,11 8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18.45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9,'4'0,"5"0,9 0,9 0,3 0,5 0,1 0,-3 0,-3 0,-6-3,-8-3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18.98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7 1,'-11'190,"-1"3,11-157,-1-25,2 0,0 0,0 0,1 0,0 0,5 19,-1-2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19.90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8 1,'4'0,"0"1,0-1,0 1,0 1,0-1,-1 0,1 1,0 0,-1-1,1 1,3 4,36 30,-35-29,-2-1,0-1,0 1,0 1,-1-1,1 1,-2 0,9 15,-12-19,0 0,0-1,-1 1,1 0,-1 0,1 0,-1 0,0 0,0 0,0 0,-1 0,1 0,-1 0,1 0,-1 0,0 0,0 0,0-1,-1 1,1 0,-1-1,1 1,-1-1,0 1,-4 3,-1 0,-1 1,0-1,-1 0,1-1,-1 0,-13 6,-30 18,49-26,-1-1,1 1,0 0,0 0,0 0,0 0,1 1,-1-1,1 1,0 0,-2 4,3-6,0 0,1 0,-1 0,1 0,-1 0,1 0,0 0,0 0,0 0,0 0,0 0,1 0,-1 0,0 0,1 0,0 0,-1 0,1 0,0 0,0 0,0-1,0 1,0 0,1-1,-1 1,0-1,1 1,-1-1,1 1,0-1,2 1,2 2,0 0,0-1,1 0,-1 0,1-1,0 0,12 2,3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20.94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5'1,"0"0,1 0,-1 0,0 0,1 1,-1 0,0 0,0 1,-1-1,9 6,-2 0,0 1,0-1,10 13,-14-13,0 0,-1 1,0 0,0 0,-1 0,0 0,-1 1,0 0,4 17,-6-21,-1 1,0-1,0 1,0-1,-1 1,0 0,0-1,-1 1,0-1,0 1,-1-1,1 0,-1 1,-1-1,1 0,-6 9,-69 94,77-108,0-1,-1 1,1 0,0 0,0-1,0 1,0 0,-1 0,1-1,0 1,0 0,1-1,-1 1,0 0,0 0,0-1,0 1,1 0,-1 0,0-1,0 1,1 0,-1-1,1 1,-1-1,1 1,-1-1,1 1,-1 0,1-1,-1 0,1 1,-1-1,1 1,0-1,-1 0,1 1,0-1,-1 0,1 0,0 1,0-1,-1 0,3 0,44 10,-33-7,8 1,44 3,-46-7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22.5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148 25,'0'0,"0"-1,0 0,0 1,0-1,-1 0,1 1,0-1,-1 1,1-1,0 1,-1-1,1 1,-1-1,1 1,-1-1,1 1,-1-1,1 1,-1-1,1 1,-1 0,0 0,1-1,-1 1,0 0,1 0,-2-1,-21-3,19 4,-98-7,-132 6,99 4,106-3,1 2,0 1,0 2,0 0,0 2,1 1,0 1,1 1,-36 19,45-20,-27 14,-59 39,90-53,1 0,1 1,0 0,0 1,1 0,0 1,1 0,1 1,-9 14,13-18,-5 7,1 0,1 1,0 0,-5 24,11-35,0 1,0-1,1 0,0 0,0 1,1-1,0 0,0 0,0 0,1 0,0 0,0 0,0 0,1 0,0-1,6 9,1 1,1-1,1-1,1 0,-1 0,23 15,77 47,-87-59,-13-10,0 0,0 0,1-1,-1-1,1 0,0 0,0-2,24 3,8-3,57-4,-39-1,-39 3,135-8,-141 6,1-2,-1 1,0-2,0-1,-1 0,25-13,-36 16,-1-1,0 1,0-1,0 0,0-1,-1 1,1-1,-1 0,0 0,-1-1,1 1,-1-1,0 0,-1 1,1-1,-1 0,0-1,2-10,-1-8,-1 0,0 0,-4-39,1 24,0 17,0 0,-1 0,-1 0,-2 1,0-1,-1 1,-1 0,-1 1,-1 0,-1 0,-1 1,-1 0,0 1,-18-21,21 29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8:55.14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96 1,'0'4,"0"16,0 21,-4 14,-5 10,-8 10,-2 2,-6 5,-5 3,-6-1,-5-3,2-8,-1-5,2-2,5-4,6-10,6-9,5-12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8:55.5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12'8,"11"14,10 18,10 15,3 9,0-3,0 12,1 9,3 10,1 12,0 4,-2-1,-4-7,-3-13,-9-17,-9-25,-9-2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8:56.00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71,'14'-1,"0"0,-1-1,1-1,-1 0,25-10,15-4,321-57,-344 69,0-1,0-2,50-21,-57 2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07.15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77 0,'1'1,"0"-1,0 0,0 1,-1-1,1 1,0-1,0 1,-1-1,1 1,0-1,-1 1,1-1,0 1,-1 0,1 0,-1-1,1 1,-1 0,0 0,1-1,-1 1,0 0,1 1,6 24,-6-22,4 18,-1 0,-1 0,-1 0,-1 1,-1-1,-1 1,-1-1,-1 1,-11 40,2-26,-1-2,-2 0,-1 0,-2-1,-23 33,-89 115,123-174,1 1,1 0,-1-1,1 2,1-1,0 0,-4 12,4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01.5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5147,'30'33,"1"-1,50 38,-52-45,76 59,3-6,4-4,3-5,3-5,234 90,-173-91,4-9,1-7,298 35,89-51,1-42,-26 0,212 15,726-4,-1102-4,876-7,-1032 2,230-39,212-75,-225 40,-313 51,184-70,58-18,-102 56,169-44,-10-30,-147 16,31-12,-223 105,143-25,-31 8,-154 33,-1-3,55-26,-69 28,0 1,1 2,1 1,50-7,145-8,-124 17,-28 0,-1-3,0-3,124-40,-34-5,215-46,-20 44,170-39,-489 87,0-1,-1-3,-1-1,54-33,135-111,-204 142,1 2,1 2,54-25,94-24,-126 47,137-44,404-161,-488 165,-70 38,38-18,-59 33,1 0,0 1,1 0,-1 1,1 0,23-1,-19 2,-1-2,1 1,-1-2,0 0,-1-1,21-10,23-8,104-26,-92 30,116-48,55-34,95-48,-337 149,137-77,-117 64,-1-1,0 0,-2-2,24-25,44-53,-34 39,-3-2,-1-1,57-99,-59 69,-5-1,47-148,-50 105,25-175,-56 257,-2 0,-3 0,-1-1,-4 1,-1-1,-2 1,-3 0,-2 1,-2 0,-27-65,29 81,2 0,1-1,1 0,-3-55,7 55,-2-21,4 31,-2 0,0 0,-2 0,-13-42,13 50,1-1,0 1,2-1,0 0,1-35,1 34,-1 0,0 0,-1 1,-1-1,-8-26,-8-22,15 48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07.55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0,"12"8,16 22,10 13,9 11,4 8,0 1,-6 2,-2-3,-7-4,-5-5,-5-3,-4-10,-7-8,-5-6,-6-7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07.92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7,'8'0,"6"0,9 0,11-4,13-5,5-1,1 2,0 1,-5 2,-7 3,-11 1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09.09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2'0,"-1"1,1 0,-1-1,0 1,1 0,-1 0,0 0,0 0,0 0,0 0,0 0,0 1,0-1,0 0,0 0,0 1,-1-1,1 1,0-1,-1 0,1 1,-1 2,4 4,21 59,-2 1,22 118,-35-141,42 218,-41-188,3 115,-16-175,-4-24,-6-30,-7-62,4-1,5-1,3-117,6 196,2 0,1 0,1 0,10-38,-11 54,1 1,-1-1,2 0,-1 1,1 0,0 0,1 0,-1 0,1 1,1 0,-1 0,1 0,0 1,0-1,1 2,0-1,7-4,-7 6,-1-1,1 1,1 1,-1-1,0 1,0 0,1 1,-1 0,1 0,0 1,8 0,-10 1,0 0,-1 0,1 1,-1 0,1 0,-1 0,0 1,0-1,0 1,0 1,0-1,-1 1,1 0,-1 0,5 5,7 11,0-1,-2 2,0 0,-1 0,-1 1,-1 1,-1 0,-2 1,0-1,8 43,-15-63,-1 0,0 0,0 0,0 0,0 1,0-1,0 0,-1 0,0 0,0 0,0 0,0 0,0 0,0 0,-1 0,1 0,-1-1,0 1,0-1,0 1,0-1,0 0,-1 0,1 1,-1-2,1 1,-1 0,0 0,1-1,-1 0,0 0,-6 2,-8 2,1-2,-1 0,1-1,-34 0,38-2,-16 0,18 0,0 0,-1 1,-16 2,27-3,0 0,0 0,-1 0,1 0,0 0,0 0,0 1,-1-1,1 0,0 0,0 0,0 0,-1 0,1 0,0 0,0 0,0 1,0-1,-1 0,1 0,0 0,0 0,0 1,0-1,0 0,0 0,0 0,-1 0,1 1,0-1,0 0,0 0,0 0,0 1,0-1,0 0,0 0,0 1,0-1,0 0,0 0,0 0,0 1,0-1,1 0,-1 0,0 0,0 1,0-1,12 12,18 9,-13-10,-1-2,-1 1,0 0,16 15,-26-20,-1 0,0 0,0 0,0 0,0 1,-1 0,0-1,0 1,0 1,-1-1,0 0,2 10,-3-9,0-1,0 1,0 0,-1-1,0 1,0 0,-1 0,0-1,0 1,0-1,-1 1,0-1,0 0,-1 1,-3 5,1-5,0 0,0-1,-1 0,0 0,0 0,0 0,-1-1,0-1,0 1,0-1,-13 6,-1 0,0-1,0 0,-1-2,0-1,-43 7,45-12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11.15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801 0,'3'5,"0"-1,-1 1,0 0,0 0,0 0,-1 0,1 0,-1 0,0 0,-1 0,1 0,-1 1,0 5,0 2,1 0,-2 1,1-1,-2 1,0-1,-1 0,0 1,-1-1,0-1,-7 14,-9 15,-35 52,40-68,-87 128,-5-6,-205 216,302-353,-8 10,-1 0,-2-1,-35 25,53-42,0 0,1 0,-1-1,-1 1,1-1,0 0,-6 1,8-1,0-1,1 0,-1 0,0-1,0 1,0 0,0 0,1 0,-1 0,0-1,0 1,0 0,1-1,-1 1,0-1,1 1,-1-1,0 1,1-1,-1 1,0-1,1 0,-1 1,1-1,0 0,-1 1,1-1,-1 0,1 0,0 1,-1-2,-4-27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11.53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7'11,"11"12,10 14,12 7,6 13,7 3,3 4,3 2,-5-2,-7-4,-8-9,-7-5,-9-6,-4-7,-2-1,-4-2,-3-2,-5-6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11.87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8'4,"10"1,10 4,11 0,15-1,14-2,2-3,2-4,-4-4,-10 1,-15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12.80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59,'4'3,"0"1,0-1,0 1,0 0,-1 0,0 0,0 1,0-1,0 1,0 0,-1 0,0 0,0 0,1 6,0-4,19 58,22 97,0 73,6 154,-33-229,-12-131,-2-28,0-9,2-15,6-300,-12 210,6-1,23-139,21 54,-40 171,1 0,1 1,2 0,28-44,-37 66,-1 0,1 0,0 1,1-1,-1 1,1 0,0 0,0 1,0 0,0-1,0 2,1-1,0 1,-1-1,11-1,-8 3,1 0,0 0,0 1,-1 0,1 0,0 1,0 1,-1-1,17 6,-7 0,-1 0,1 1,-2 1,1 1,-1 0,-1 2,1-1,-2 2,17 17,-18-16,-1 1,-1 0,0 1,-1 0,11 23,-19-33,1 0,-1 0,0-1,0 2,-1-1,1 0,-2 0,1 0,0 1,-1-1,-1 0,1 0,-1 1,0-1,0 0,0 0,-1 0,0 0,-6 11,1-7,-1 1,0-1,-1 0,0-1,-1 0,0-1,0 0,-1 0,0-1,0 0,-19 8,-13 3,-81 22,124-40,-1 0,0 1,1-1,-1 0,1 0,-1 0,0 0,1 1,-1-1,1 0,-1 0,0 1,1-1,-1 1,1-1,-1 0,1 1,-1-1,1 1,0-1,-1 1,1-1,0 1,-1-1,1 2,0-1,0 0,0-1,1 1,-1 0,0-1,1 1,-1 0,1-1,-1 1,1-1,-1 1,1-1,-1 1,1-1,-1 1,1-1,0 1,0-1,41 19,-39-18,1 0,48 19,70 35,-106-47,-1 2,0 0,-1 0,1 1,-2 1,0 1,0 0,17 23,-27-31,0-1,0 1,-1 0,1 0,-1 0,0 1,0-1,-1 0,1 1,-1-1,0 1,-1 0,0-1,1 1,-2 0,1-1,-1 1,0-1,-3 11,2-9,-1-1,0 1,-1-1,0 1,0-1,0 0,0-1,-1 1,0-1,0 0,-1 0,0-1,1 1,-14 6,2-3,0 0,-1-1,0 0,0-2,-34 6,-99 5,79-11,43-2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13.47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00 1,'-13'21,"0"-1,-2 0,0 0,-1-2,-27 24,-13 17,36-37,1 1,1 0,-25 44,39-58,-1 1,1 0,1 0,0 0,0 0,1 0,0 1,1-1,0 1,1-1,0 1,0 0,4 18,0-13,1-1,0 1,1-1,1 0,0 0,1-1,0 0,2 0,11 14,1-3,1 0,1-2,39 29,-47-41,0-1,29 14,-32-18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14.26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537 0,'-8'4,"-10"20,-10 22,-11 22,-7 15,-4 5,0 3,3-10,3-7,5-5,5-7,5-9,3-10,6-9,2-6,1-8,3-3,4-5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14.6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8'4,"10"16,14 21,4 18,1 12,-2 4,-7 2,-4-6,-7-6,-2-2,-4-10,-3-4,0 0,3-4,0-6,-3-1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03.5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249 799,'-3'4,"0"1,0-1,-1 1,1-1,-1 0,-9 6,-9 11,15-12,0 0,-1-1,0 0,-1 0,0-1,0 0,-1 0,1-1,-1 0,-1-1,1 0,-1-1,0 0,-14 3,-299 29,238-30,30-4,-1-3,-56-8,-46-2,148 10,0 0,0-1,0 0,0-1,1 0,-1 0,-13-7,-1-2,-40-27,61 35,0 1,0-1,1 0,-1 0,1 0,0 0,0-1,0 1,1-1,-1 1,1-1,0 0,1 0,-1 0,0-10,-2-9,1 0,1-27,2 30,1-272,0 287,0 0,0-1,1 1,0 0,0 0,0 0,1 0,0 1,0-1,0 0,1 1,0 0,0 0,0 0,7-5,6-5,2 1,37-22,-31 21,181-106,-168 102,0 2,0 2,74-19,-46 23,1 4,134 1,-152 6,34-2,-27 0,110 11,-156-8,0 1,0 0,-1 1,1 0,-1 1,1 0,-1 0,-1 1,1 0,-1 0,1 1,-1 0,9 11,-8-7,-1 0,0 1,0 0,-1 1,-1-1,0 2,0-1,6 24,-1 9,-3 1,-2-1,-2 1,-3 73,0-100,-5 52,3-65,0 0,0 0,-1-1,0 1,0-1,-1 0,1 1,-1-1,0 0,-4 4,-15 22,-19 34,28-44,0 1,-1-2,-1 0,-31 32,42-49,0 0,0 0,0 0,0-1,0 0,-1 0,1 0,-1 0,0 0,1-1,-10 2,-5-2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15.04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0,"8"0,11 0,9 0,10 0,10 0,0 0,-1 0,-6 0,-6 0,-6 0,-9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16.03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42,'0'852,"16"-1277,-7 339,3 0,48-163,-56 236,1-3,0-1,2 1,16-31,-22 45,0-1,1 1,-1-1,1 1,-1 0,1 0,0-1,0 1,0 1,1-1,-1 0,0 0,1 1,-1 0,1-1,-1 1,1 0,-1 0,1 0,0 1,0-1,-1 1,1-1,0 1,0 0,0 0,0 0,-1 0,1 1,0-1,5 2,2 3,1 0,-1 0,0 1,-1 0,1 1,-1 0,0 0,14 17,-19-20,1 2,-1-1,0 0,0 1,-1 0,0 0,0 0,0 0,0 0,-1 0,0 1,-1-1,1 1,-1 0,-1-1,1 12,-2-12,-1-1,1 0,-1 0,0 1,0-1,0 0,-1-1,0 1,0 0,0-1,-1 1,1-1,-7 5,-9 9,-35 24,17-14,-5 4,42-31,-1-1,1 0,0 0,-1 1,1-1,0 0,0 1,-1-1,1 0,0 1,0-1,0 1,0-1,-1 0,1 1,0-1,0 1,0-1,0 0,0 1,0-1,0 1,0-1,0 0,0 1,0-1,0 1,0-1,1 0,-1 1,0 0,13 10,26 5,-34-14,55 17,-32-11,0 1,-1 1,-1 2,0 0,25 17,-47-26,0 0,0 0,0 1,0 0,-1 0,1 0,-1 0,0 0,0 1,-1-1,1 1,-1 0,0-1,0 1,-1 0,2 9,-2-7,0 1,-1 0,0 0,-1 0,0 0,0-1,0 1,-1 0,0-1,-5 10,1-3,0-1,-1-1,0 1,-1-1,-1-1,0 1,0-2,-1 1,0-1,-1-1,-22 16,26-21,1-1,-1 0,0 0,-13 3,0-2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16.61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24 0,'-5'1,"0"1,0-1,1 1,-1 0,0 0,1 0,-1 1,1 0,0 0,-1 0,-4 5,2-2,-29 25,1 1,2 2,2 1,1 1,1 2,-37 67,50-75,2 1,1 0,1 1,2 0,1 0,-5 39,10-46,2 0,0 0,2 1,1-1,1 0,1 0,1 0,14 46,-12-54,2 0,1 0,0 0,1-1,19 24,-5-12,52 48,-69-70,1 0,0 0,0-1,0 0,0 0,1-1,0 0,0-1,0 0,0 0,1-1,-1 0,1 0,-1-1,1-1,0 1,-1-2,1 1,0-1,15-4,-5-2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17.45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86,'5'8,"-2"0,1 1,-1-1,-1 1,1-1,-1 1,-1 0,1 15,1-5,11 156,-9 221,-6-296,1-100,0 19,-4 35,-2-40,-1-18,-3-27,6 3,1 0,2 0,1 0,4-32,20-117,-22 164,27-142,77-249,-103 396,-1 1,1-1,0 1,1 0,-1 0,1 0,1 1,7-10,-9 13,1 1,-1-1,1 1,-1-1,1 1,0 0,0 1,0-1,0 1,0 0,0 0,0 0,1 0,-1 1,0-1,0 1,5 1,-1-1,-1 1,1 0,-1 1,0 0,0 0,0 0,0 1,0 0,0 0,-1 1,0 0,1 0,-1 1,-1-1,1 1,-1 1,0-1,0 1,0-1,-1 2,5 8,6 10,-2 1,-1 0,-2 1,10 32,18 94,-34-131,-1 0,-1-1,-1 1,-1 0,-4 27,3-42,0 0,-1 0,0 0,-1 0,1 0,-1-1,-1 0,1 1,-1-1,0 0,0-1,-1 1,0-1,0 0,0 0,-1 0,-9 6,-6 2,-1-2,-1 0,-40 14,-3 1,53-2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19.65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15,"0"21,4 23,1 18,0 18,-1 12,-1 8,-2 7,0 2,0-8,-1-13,0-12,-1-17,5-18,1-15,0-13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20.90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4 0,'32'1,"1"2,-1 1,0 1,48 15,-25-2,85 40,-131-53,1-1,-1 1,0 1,0 0,-1 0,1 0,11 13,-18-16,0 0,1 1,-1-1,0 1,-1-1,1 1,-1-1,1 1,-1 0,0 0,-1 0,1 0,-1 0,1-1,-1 1,0 0,-1 0,1 0,-1 0,0 0,1 0,-2 0,-1 5,-3 4,0 0,0 0,-2-1,1 0,-2-1,0 1,0-2,-13 13,-95 75,60-53,24-16,0 1,3 2,-29 36,44-48,1 0,1 0,1 1,1 1,0 0,2 0,-7 26,15-47,1 0,0 1,0-1,-1 0,1 1,0-1,0 1,0-1,1 0,-1 1,0-1,0 1,1-1,-1 0,1 1,-1-1,1 0,0 0,-1 0,1 1,0-1,0 0,0 0,0 0,0 0,0 0,0 0,0 0,0-1,0 1,0 0,1-1,-1 1,3 0,4 2,1 0,0-1,0-1,13 2,-15-3,93 8,1-5,0-4,178-25,-224 12,-40 8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22.11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7'1,"0"0,-1 1,1 1,29 9,62 29,-76-28,-13-5,92 40,-96-41,-1 1,0 1,-1 0,0 0,15 16,-26-24,-1 1,0-1,0 0,1 1,-1-1,0 0,0 1,-1-1,1 1,0 0,0-1,-1 1,1 0,-1-1,0 1,1 0,-1 0,0-1,0 1,0 0,0 0,0-1,0 1,-1 0,1-1,-1 1,1 0,-1 0,1-1,-1 1,0-1,0 1,0-1,0 1,-2 1,-3 4,-2 0,1 0,-1-1,0 1,-9 4,10-7,-40 25,-77 34,88-46,34-16,1-1,-1 1,0 0,1-1,-1 1,1 0,-1 0,1 0,-1 0,1 1,0-1,-1 0,1 1,0-1,0 0,0 1,0-1,0 1,0 0,1-1,-2 4,2-3,0-1,1 1,-1-1,1 1,-1-1,1 1,-1-1,1 1,0-1,0 0,0 0,0 1,0-1,0 0,0 0,0 0,0 0,1 0,1 1,12 7,0-1,0-1,27 10,-34-14,53 18,-35-13,0 1,0 1,-1 1,0 2,24 15,-47-26,0-1,0 1,0-1,0 1,0 0,0 0,0-1,0 1,-1 1,1-1,-1 0,0 0,1 1,-1-1,0 0,-1 1,1-1,0 1,0 2,-1-2,-1-1,0 1,1-1,-1 0,0 0,0 1,0-1,0 0,0 0,-1 0,1 0,-1 0,1 0,-1 0,0-1,0 1,0-1,0 1,0-1,-2 2,-12 6,0 0,0-1,-28 10,28-12,0 0,1 1,0 1,-22 14,23-11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23.04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90 0,'-4'1,"0"-1,0 1,0 0,0 0,0 0,0 1,0-1,1 1,-1 0,-6 4,-36 31,29-23,-131 92,53-40,92-64,0 0,0 0,0 0,0 1,0-1,1 1,-1 0,1 0,0 0,0 0,-3 4,5-6,0 0,0 0,0-1,0 1,0 0,0 0,0 0,0 0,0 0,0-1,0 1,0 0,1 0,-1 0,0-1,1 1,-1 0,0 0,1-1,0 2,1 0,0 0,0 0,0 0,0 0,1-1,-1 1,1-1,4 3,15 6,2-1,-1-1,44 8,77 5,-106-16,-6-1,164 18,-146-19,93-5,-102-5,-22-2,-19 9,0 0,1 0,-1-1,0 1,0 0,1 0,-1-1,0 1,0 0,1 0,-1-1,0 1,0 0,0-1,0 1,0 0,1-1,-1 1,0 0,0-1,0 1,0 0,0-1,0 1,0-1,0 1,0 0,0-1,0 1,0 0,-1-1,1 1,0 0,0-1,0 0,-9-7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23.56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9 1,'-8'0,"-6"0,-8 7,-5 8,-1 7,-1 17,6 16,2 19,5 15,6 9,3 6,4-2,2-12,5-16,2-18,0-14,-1-14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24.25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4'0,"12"0,8 0,8 0,2 0,-1 0,-3 0,-1 0,-3 0,-6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04.52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117 453,'-1'-9,"0"0,-1 0,0 0,0 1,-1-1,0 0,-1 1,1 0,-2 0,1 0,-11-14,-1 3,0 0,-1 0,-20-16,18 19,0 0,-1 2,-1 0,0 1,-1 1,0 1,0 1,-1 1,-1 2,0 0,-35-6,-96-7,-131-27,243 32,-11-3,51 17,0 0,0 1,0 0,0 0,0 0,0 0,0 0,0 1,0-1,0 1,0 0,0 0,0 0,0 0,-3 2,-80 40,71-36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25.03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2 0,'-4'5,"-1"0,1 0,1 0,-1 1,1 0,0-1,0 1,0 0,1 0,0 1,0-1,1 0,0 1,0-1,0 1,1 10,1 1,1 0,1 0,0 0,10 28,-5-12,-7-27,1 0,0 0,0 0,0 0,7 12,-7-16,0 0,0-1,0 1,0-1,1 0,-1 0,1 0,0 0,-1 0,1 0,0-1,0 1,0-1,0 0,0 0,1 0,2 0,48 9,1-4,73 1,-12-2,-79-2,-15-3,1 2,0 1,-1 0,40 13,-60-15,1 0,-1 0,1 0,-1 0,1 0,-1 1,0-1,0 1,0 0,0 0,0-1,0 1,0 1,-1-1,1 0,-1 0,0 0,1 1,-1-1,1 4,-1-2,0 0,-1 1,0-1,0 0,0 0,0 1,0-1,-1 0,0 0,0 0,-2 8,-2-2,1 1,-2 0,1-1,-2 0,1 0,-1-1,0 0,-13 12,1-5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09:54.05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04.47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52 130,'-30'-1,"13"0,0 1,1 1,-24 4,34-4,1 0,0 1,0-1,1 1,-1 0,0 1,1-1,-1 1,1 0,0 0,0 0,0 1,0-1,1 1,-5 6,0 2,1 0,1 0,-1 1,2 0,0 0,1 1,0 0,1-1,0 1,1 0,0 17,1-13,2 1,0-1,1 1,0-1,2 0,0 0,1 0,8 18,-4-21,0-1,1 0,0-1,1 0,1 0,0-1,1-1,15 11,-14-12,1 0,0-2,0 0,1 0,-1-2,2 0,-1 0,1-2,21 4,-13-4,0-2,1 0,-1-2,1 0,39-7,-54 5,-1 0,1 0,-1-1,0-1,0 1,0-2,-1 1,0-2,1 1,-2-1,1 0,-1-1,0 0,0 0,-1-1,1 0,-2 0,0-1,0 0,0 0,-1 0,0-1,-1 1,0-1,-1 0,0 0,0-1,-1 1,1-14,-1 3,0 0,-2 0,0 0,-2-1,0 1,-1 0,-1 1,-1-1,-1 1,-1-1,-12-24,12 35,0 0,-1 0,0 1,0 0,-1 0,-17-13,-18-17,35 31,0 0,-1 0,0 0,0 2,0-1,-1 1,0 1,-21-8,-7 1,-54-9,20 4,54 13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13.2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20 0,'-26'2,"1"1,0 1,1 2,-1 0,1 1,-27 13,43-17,0 1,1 1,0-1,0 1,0 0,0 1,1 0,0 0,0 0,0 1,1 0,0 0,1 0,-1 0,2 1,-1 0,1 0,0 0,0 0,1 0,0 1,1-1,-1 12,0-6,1 0,1 0,0 0,1 0,1 0,0-1,1 1,0 0,1-1,1 0,0 0,1 0,12 21,-9-21,1 1,0-1,1-1,0 0,1 0,0-1,1-1,0 0,1-1,0 0,0-1,1-1,0 0,16 5,-8-5,0-2,0 0,1-1,-1-1,1-1,-1-1,1-2,0 0,-1-1,1-2,23-6,-39 7,0-1,0 0,0 0,0-1,-1 0,0-1,0 1,0-1,-1-1,0 1,0-1,-1 0,0 0,7-12,-1-1,-1-1,-1-1,0 0,6-29,-13 45,-1 0,1 0,-2 0,1 1,-1-1,0 0,0 0,0 0,-1 0,0 0,0 0,0 1,-1-1,-3-8,-1 4,0 1,0 0,0 0,-1 0,-1 0,-14-12,-6-3,0 2,-45-26,49 33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14.28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06 1,'-22'0,"0"0,1 0,-36 6,49-4,-1 0,1 0,0 1,1 0,-1 1,0 0,1 0,0 0,0 1,-8 7,-3 5,0 1,1 1,1 1,1 0,0 1,2 0,0 1,2 1,0 0,2 0,1 1,0 0,2 1,1 0,-4 35,9-49,0 1,1-1,0 0,0 0,2-1,-1 1,1 0,1-1,-1 1,2-1,0 0,0 0,12 15,-5-9,0-1,1 0,1-1,1-1,0 0,32 21,-37-29,-1 0,2-1,-1 0,0-1,1 0,-1 0,1-1,0-1,0 1,-1-2,1 0,0 0,0-1,0 0,0-1,-1 0,1 0,0-2,-1 1,0-1,11-6,-6 3,-1-1,0 0,-1-1,0 0,0-1,-1-1,0 1,-1-2,0 0,-1 0,-1-1,1 0,12-26,-19 29,1 1,-2-1,1 0,-1 0,-1 0,0 1,0-2,-1 1,0 0,-1 0,0 0,0 0,-1 1,-1-1,1 0,-2 1,1-1,-1 1,-6-9,-9-14,-1 0,-2 2,-42-46,39 48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15.18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36 16,'-1'-1,"1"1,0-1,0 0,0 1,0-1,-1 0,1 0,0 1,-1-1,1 1,-1-1,1 0,0 1,-1-1,1 1,-1-1,1 1,-1-1,0 1,1-1,-1 1,0 0,1-1,-1 1,0 0,1 0,-1-1,0 1,1 0,-1 0,0 0,0 0,0 0,-2 0,1 0,0 0,0 0,0 0,0 0,-1 0,1 1,0-1,0 1,0 0,-2 1,-2 2,0 1,1 0,-1 0,1 0,0 1,1 0,0 0,0 0,0 0,0 1,1-1,0 1,1 0,-4 12,0 5,1 0,1 0,-1 26,3-21,2 1,1-1,7 41,-6-56,1 0,1 1,0-1,1-1,0 1,1-1,0 0,16 22,-10-21,2 0,0-1,28 21,-36-30,0-1,-1 1,2-1,-1-1,0 1,0-1,1 0,0 0,-1-1,1 0,0 0,-1-1,1 0,0 0,0 0,0-1,-1 0,1 0,-1-1,1 0,-1 0,1 0,9-6,1-1,-1 0,0-1,-1-1,0 0,-1-1,0 0,17-22,-22 22,0 1,-1-1,0-1,-1 0,-1 0,0 0,-1-1,0 1,-1-1,4-27,-7 31,0 0,0-1,-1 1,0 0,-1 0,0 0,-1-1,0 1,0 0,-1 1,-1-1,0 0,0 1,0 0,-1 0,-9-11,-4 0,-2 4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16.0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12 82,'-12'0,"0"0,0 1,0 0,0 1,0 0,0 1,0 0,1 1,0 0,0 1,0 0,0 1,1 0,0 1,0 0,-10 10,6-4,1 1,1 0,0 1,-15 24,-33 71,42-75,9-19,1 0,1 1,0 1,1-1,1 1,1 0,1 0,-2 27,5-39,0-1,0 1,0-1,1 0,0 1,0-1,0 0,1 0,0 1,0-1,0-1,0 1,1 0,0 0,0-1,0 0,1 1,-1-1,1-1,0 1,0 0,1-1,-1 0,1 0,-1 0,1-1,0 1,0-1,0 0,0-1,0 1,1-1,5 1,21 3,0-2,0-1,1-1,-1-2,0-1,1-2,-1-1,-1-1,1-2,-1-1,-1-1,0-2,0-1,35-21,-55 28,0-1,-1 1,0-1,0-1,0 0,-1 0,0-1,0 1,8-16,-11 16,-2 1,1-1,-1 0,-1 0,1 0,-1-1,-1 1,1 0,-1-1,-1 1,0-1,0 1,-3-17,0 10,-1 1,0-1,-1 1,-1 0,0 0,-1 0,-1 1,0 0,0 1,-1 0,-16-17,-5-1,-2 0,-62-44,26 28,7 1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16.98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68 1,'-7'1,"1"0,-1 1,1 0,0 0,0 0,0 1,0 0,0 0,0 1,-8 7,4-5,-17 13,2 0,0 2,1 1,1 1,1 0,1 2,1 1,-18 30,29-41,1 1,1 0,0 0,1 1,1 0,0 0,-2 20,6-24,0 0,1 0,0 0,1-1,0 1,1 0,1-1,0 1,1-1,8 21,-2-10,1-1,1-1,1 1,0-2,32 36,-38-49,0 0,0-1,1 0,0 0,0 0,0-1,1-1,0 1,0-1,0-1,0 0,1 0,-1 0,1-2,0 1,-1-1,18 0,-12-2,1-1,0-1,-1 0,0-1,0 0,0-1,0-1,-1-1,0 0,0 0,0-1,-1-1,22-20,-24 19,-1 0,0-1,0 0,-1 0,-1-1,0-1,0 1,-1-1,-1 0,0-1,-1 0,0 0,-2 0,5-29,-6 30,-1 0,0-1,-1 1,-1-1,0 1,-1 0,0-1,-1 1,-1 0,0 0,0 1,-1-1,-1 1,0 0,-1 1,0-1,-15-17,-10-6,0 1,-3 2,-47-35,58 5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17.84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515 19,'-3'-2,"0"0,0 0,0 0,-1 1,1-1,-1 1,0 0,1 0,-1 0,0 0,1 0,-6 1,-46-2,39 3,0 0,1 1,-1 0,1 1,-1 1,1 1,0 0,1 1,-1 0,1 1,0 1,1 0,0 1,0 0,1 1,0 1,1 0,0 0,1 1,0 1,0-1,2 2,0-1,-9 19,1 2,2 0,0 1,-14 65,25-86,1 0,0 0,1 0,1 0,0 1,1-1,0 0,1 0,1 0,0 0,1 0,0-1,7 15,1-7,1-1,1 0,0 0,1-2,2 0,0-1,0 0,2-1,0-1,37 22,-19-16,1-2,0-1,1-2,1-2,53 12,-76-22,65 12,-73-15,0 0,-1-1,1 0,0 0,0-1,0 0,9-3,-15 3,0 0,-1 0,1-1,0 1,-1-1,1 0,-1 0,0 0,0 0,1 0,-1 0,0 0,-1-1,1 1,0-1,-1 1,0-1,1 0,-1 0,0 1,0-1,-1 0,2-5,0-7,0 0,-1 0,-2-22,1 27,-1-26,-2 1,-1 0,-2 0,-1 0,-2 1,-2 0,-1 1,-1 0,-2 0,-1 2,-1 0,-32-41,41 60,-8-10,-24-27,35 44,0 0,0 0,0 1,-1 0,0 0,1 0,-1 1,-1-1,1 1,-11-3,3 3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18.76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661 1,'-47'0,"0"2,-70 13,95-10,1 0,0 1,1 1,-1 2,1-1,1 2,-30 20,23-12,2 1,1 1,0 1,2 1,0 1,2 1,0 1,-20 36,32-49,2-1,-1 1,1-1,1 1,0 1,1-1,0 1,1-1,1 1,0 0,0-1,1 1,1 0,0 0,1-1,0 1,1 0,0-1,1 0,1 0,0 0,11 19,-2-9,1-1,0-1,2 0,0-1,1-1,1 0,0-2,2 0,0-1,0-1,1-1,1-1,0-1,1-2,0 0,0-1,1-1,39 5,-58-11,-1 0,1-1,0 1,0-1,0 0,0-1,0 0,-1 0,1 0,0 0,-1-1,1 0,-1 0,1-1,-1 1,0-1,0 0,0-1,0 1,-1-1,1 0,-1 0,6-7,3-7,-1-1,0 0,-1-1,-1 0,-1 0,-1-1,0 0,-2-1,4-23,-4 14,-2 0,-2 0,0-1,-2 1,-2 0,-5-32,5 54,1 1,-2-1,1 1,-2 0,1 0,-1 0,0 0,0 0,-1 1,0 0,-1 0,-10-11,6 9,1 1,-1 0,-1 1,0 0,0 1,0 0,-1 1,-14-5,-10-2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05.46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530 164,'-17'-1,"1"-2,0 0,0-1,0 0,-26-12,31 12,-56-22,-16-6,-117-28,168 55,-1 2,0 1,-64 4,19 1,-36-4,-107 2,205 0,-1 1,-27 6,39-7,-1 0,1 1,0 0,0 1,0-1,0 1,0 0,1 0,-1 0,1 0,-7 8,-19 21,-1-2,-2-2,-36 25,65-50,-10 10,1-1,0 1,1 1,-18 25,-4 5,22-29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19.84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35 4,'-66'-2,"34"1,0 0,0 2,-35 6,55-4,0 0,1 1,-1 1,1 0,0 1,1-1,-1 2,1 0,-15 13,18-14,0 0,0 1,1 0,0 0,0 0,1 1,0 0,0 0,1 0,0 1,0-1,1 1,-2 11,2-5,1 1,1-1,1 1,0-1,1 1,0 0,2-1,-1 0,2 0,0 1,1-2,1 1,0-1,10 17,-10-21,1 0,0 0,0-1,1 0,0-1,1 0,0 0,0-1,1 0,0 0,0-1,0-1,1 0,0 0,0-1,0 0,0-1,1 0,17 1,-22-3,0 0,1-1,-1 0,0 0,0-1,0 0,0 0,-1-1,1 1,0-2,9-3,-12 3,0 1,0-1,0 0,0 0,0 0,-1 0,1-1,-1 0,0 1,0-1,-1 0,1-1,-1 1,0 0,0-1,0 1,2-10,1-20,0 0,-2-1,-2 1,-3-44,1 46,0-1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20.79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35 44,'0'-1,"-1"0,1 0,0 0,0 1,-1-1,1 0,-1 0,1 1,-1-1,1 0,-1 1,1-1,-1 0,1 1,-1-1,0 1,1-1,-1 1,0-1,0 1,1-1,-1 1,0 0,0-1,0 1,0 0,-1 0,-26-5,24 5,-18-3,0 2,-1 1,1 1,0 1,-1 0,1 2,0 1,-22 7,34-8,1-1,0 1,0 1,0 0,0 0,1 1,-1 0,2 0,-1 1,1 0,0 0,0 1,1 0,0 0,0 1,1-1,0 1,1 0,0 1,-3 9,4-9,0 0,1 1,0-1,1 1,1-1,-1 1,2-1,-1 1,1-1,1 1,5 17,-6-23,1 0,0 0,1 0,-1 0,1 0,0-1,0 1,1-1,-1 0,1 0,0 0,0 0,0-1,0 0,1 0,-1 0,1 0,0-1,0 1,0-1,0 0,0-1,1 0,8 2,29 1,1-3,47-3,-25 0,-58 2,1 0,0-1,0 0,-1 0,1-1,10-3,-17 4,1 0,-1 0,0 0,0-1,0 1,0-1,0 1,-1-1,1 0,0 0,-1 0,1 0,-1 0,0 0,0 0,0 0,0 0,0-1,0 1,0 0,-1-1,1 1,-1 0,0-1,1 1,-2-6,-7-200,6 171,-10-56,8 69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21.70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39 22,'0'-1,"0"0,-1 1,1-1,0 0,0 1,-1-1,1 1,0-1,-1 0,1 1,0-1,-1 1,1-1,-1 1,1-1,-1 1,1 0,-1-1,1 1,-1 0,1-1,-1 1,0 0,1-1,-1 1,0 0,1 0,-1 0,1 0,-1 0,0 0,-1 0,-22 0,-3 6,1 1,0 1,0 1,1 1,0 2,-25 14,45-22,-10 3,1 1,1 0,0 2,0-1,1 2,0-1,1 2,0-1,-11 16,15-16,1 1,0-1,0 1,1 0,0 0,1 1,1-1,0 1,1 0,0 0,0 20,1-18,2 1,0 0,1 0,0-1,1 1,1-1,11 30,-13-40,1 1,0-1,0 0,0 0,0 0,1 0,0 0,0-1,0 1,0-1,1 0,-1-1,1 1,0-1,1 0,-1 0,0 0,1-1,-1 0,1 0,0 0,0-1,11 1,-14-1,15 0,-1 0,36-3,-48 1,0 0,1 0,-1-1,0 1,0-1,0 0,0 0,-1-1,1 0,-1 1,1-2,-1 1,0 0,5-6,2-3,-1 0,0 0,-1-2,0 1,-1-1,-1 0,0 0,-1-1,-1 0,0 0,-1-1,0 1,-1-1,-1 0,-1 0,0 0,-1 0,-1 0,0 1,-1-1,-1 0,-6-19,-2 1,-30-59,12 30,19 38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22.71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525 242,'-4'-4,"-7"-8,0 2,-1-1,-19-11,29 20,0 0,0 1,-1-1,1 1,-1 0,1 0,-1 0,0 0,1 0,-1 1,0-1,0 1,1-1,-1 1,0 0,0 0,1 1,-1-1,0 0,0 1,1 0,-1 0,0 0,1 0,-1 0,-3 2,-4 7,0-1,1 1,1 1,-1 0,2 0,0 0,-7 16,-7 8,-85 121,-37 63,137-209,1 0,0 1,0 0,2 0,-1 0,1 0,1 1,0-1,-1 13,4-19,-1-1,0 0,1 0,0 1,0-1,0 0,0 0,1 0,0 0,-1 0,2-1,-1 1,0 0,1-1,-1 0,1 1,0-1,0 0,0 0,1-1,-1 1,1-1,-1 0,1 0,0 0,0 0,6 2,6 1,0 0,0-2,0 1,0-2,22 1,87-4,-70-1,-33 2,0-1,0-1,0-2,26-6,-35 6,-1-1,0 0,0 0,-1-2,0 1,0-1,0-1,15-14,-10 7,-1-1,0 0,-1-1,-1-1,-1 0,0-1,13-29,-20 37,-1-1,0 1,0 0,-1-1,-1 0,0 0,0 0,-2 0,1 0,-1 0,-1 0,0 0,-1 0,0 1,-5-16,-62-134,37 93,21 44,-1 0,-23-34,27 48,1 0,-2 0,1 1,-1 0,-1 1,1 0,-17-10,-39-23,48 31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51.96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3 2,'27'0,"-12"-1,-1 1,22 2,-32-1,-1-1,1 1,0 0,0 0,-1 1,1-1,-1 1,1 0,-1 0,1 0,-1 0,0 0,5 6,-1-1,-1 1,0 0,0 0,0 1,-1-1,-1 1,1 0,5 18,-9-20,1 1,-1-1,0 1,-1-1,0 1,0-1,0 1,-1-1,0 1,-1-1,0 1,-3 9,0-6,0 0,0-1,-1 1,0-1,-1 0,0-1,-1 0,0 0,0 0,-1-1,-13 10,0-3,-1 0,-1-2,-46 19,70-32,1 0,-1 1,0-1,1 0,-1 0,1 0,-1 0,0 1,1-1,-1 0,0 0,1 0,-1 1,0-1,0 0,1 1,-1-1,0 0,0 1,1-1,-1 0,0 1,0-1,0 0,0 1,0-1,1 1,-1-1,0 0,0 1,0-1,0 1,0-1,0 0,0 1,0-1,-1 1,1-1,0 0,0 1,0-1,0 0,0 1,-1-1,1 0,0 1,0-1,-1 0,1 1,0-1,0 0,-1 1,1-1,0 0,-1 0,1 0,0 1,-1-1,1 0,0 0,-1 0,1 0,-1 0,1 1,0-1,-1 0,1 0,-1 0,1 0,32 12,67 12,63 20,-153-40,0 0,-1 0,1 1,-1 0,0 1,-1 0,1 0,-1 1,0 0,-1 0,0 0,0 1,-1 0,1 0,5 15,-4-8,0 0,-2 1,0 0,0 0,-2 0,0 1,-1-1,0 23,-2-31,-1 0,0 0,0 0,-1 0,0 0,-1 0,0 0,0-1,0 0,-1 1,-6 7,-4 5,-1-1,-20 20,31-34,21-23,14-14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0:52.64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94 0,'-5'1,"0"1,0-1,0 1,0 0,0 0,0 1,0-1,0 1,1 0,0 0,-7 7,-5 2,9-8,-18 13,1 0,-32 31,48-41,1 1,1 0,0 0,0 1,0 0,1 0,0 0,1 0,0 1,1 0,-3 10,3-8,-7 29,2 1,1 0,0 43,7-78,0-1,1 1,0-1,1 1,-1-1,1 0,0 1,1-1,0 0,0 0,0 0,0-1,1 1,0-1,0 0,1 0,-1 0,1-1,0 1,0-1,1-1,-1 1,1-1,0 1,9 2,-2 0,1-1,0-1,1 0,-1-1,1 0,0-2,-1 1,1-2,0 0,20-3,-23 2,-1-1,0 0,0 0,0-2,0 1,-1-1,1-1,-1 0,0 0,-1-1,1 0,-1-1,0 0,-1-1,0 0,0 0,0 0,-1-1,0 0,-1-1,0 1,-1-1,0 0,0-1,-1 1,0-1,2-12,0-9,0 0,-2 0,-2-1,-1 0,-4-47,2 76,1 0,0 0,-1 0,0 0,0 0,0 1,-1-1,1 0,-1 1,0-1,0 1,0-1,0 1,0 0,-1 0,0 0,0 0,-4-3,-1 1,-1 0,0 0,0 1,0 1,-1-1,-10-1,-9-3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1:23.81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60'0,"226"5,-224-1,-1 3,95 24,-152-30,-1 0,1 0,-1 0,1 0,-1 1,0-1,0 1,0 0,0 0,0 0,0 1,0-1,0 1,-1-1,3 4,-5-4,1-1,0 1,-1 0,1 0,-1 0,1 0,-1 0,0 0,0 0,0-1,0 1,0 0,0 0,-1 0,1 0,-1 0,1 0,-1-1,0 1,1 0,-1 0,0-1,0 1,0 0,0-1,-1 1,1-1,-3 3,-4 4,-1 1,-1-1,1-1,-1 0,-1 0,-10 5,-72 31,74-35,-14 3,27-10,0 1,0 0,0 0,0 0,0 1,0 0,1 0,0 0,-1 1,-6 6,11-9,1 1,-1-1,0 1,1-1,-1 1,1-1,0 1,-1-1,1 1,0-1,0 1,0 0,0-1,0 1,0-1,1 1,-1 0,0-1,1 1,-1-1,1 1,0-1,-1 0,1 1,0-1,0 0,0 1,0-1,1 1,36 37,-35-36,82 59,-64-48,-1 0,0 2,0 0,29 33,-47-46,0-1,0 1,-1 0,1 0,-1-1,1 1,-1 0,0 0,0 0,-1 0,1 0,-1 1,1-1,-1 0,0 0,0 0,0 0,-1 0,1 1,-1-1,1 0,-3 4,-1 4,-2 0,1 0,-1-1,-12 15,6-8,-7 9,-2-1,-29 28,0 0,40-37,13-10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1:24.33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75 0,'-1'14,"-1"0,-1 0,0-1,-1 1,-8 20,-4 12,10-24,-1 0,1-1,1 1,1 0,-1 33,4-50,1 1,1-1,-1 0,1 0,0 0,0 0,0 1,1-2,-1 1,1 0,1 0,-1 0,1-1,-1 1,1-1,1 0,-1 0,1 0,-1 0,1-1,0 0,0 1,1-1,7 4,5 1,1 0,-1-2,1 0,0-1,0 0,0-2,1 0,0-1,-1-1,34-3,-48 2,0-1,0-1,0 1,-1-1,1 1,-1-1,1 0,-1 0,0-1,0 1,0-1,0 1,0-1,0 0,-1 0,1 0,-1-1,0 1,0-1,0 1,0-1,-1 1,0-1,1 0,-1 0,0-6,3-11,-2 1,0-1,-3-38,0 39,1 5,0 0,-2 0,-4-20,5 29,-1 0,0 1,-1-1,1 1,-1-1,0 1,-1 0,1 0,-1 0,0 1,-5-5,-1 0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1:25.23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27'1,"-1"1,0 1,0 1,0 2,-1 1,1 0,-2 2,1 1,-1 1,26 16,-41-21,-1 0,1 1,-1 0,0 1,-1-1,0 2,0-1,-1 1,6 9,-9-14,-1 0,0 0,0 0,-1 1,1-1,-1 0,0 1,0-1,0 1,-1-1,0 1,1 0,-2-1,1 1,0-1,-1 1,0-1,0 1,0-1,-1 0,1 1,-1-1,-3 5,-1-2,0 1,0-2,0 1,-1-1,0 0,-1 0,1 0,-16 7,-2 3,24-15,0-1,-1 1,1 0,0 0,0-1,0 1,0 0,0 0,0 1,0-1,0 0,0 0,1 0,-1 0,0 1,1-1,-1 0,1 1,-1-1,1 0,0 1,0-1,-1 3,2-2,-1 0,1 0,0 0,-1-1,1 1,0 0,0 0,0-1,1 1,-1-1,0 1,0-1,1 1,-1-1,3 2,8 5,1 0,0 0,24 9,-25-11,28 12,-21-10,0 0,-1 1,0 1,0 1,-1 0,17 16,-32-25,1 1,-1 0,1 0,-1 0,0 0,0 0,-1 0,1 1,0-1,-1 0,0 1,0 0,0-1,0 1,-1 0,1 6,-2-4,1 0,-1 0,0 0,-1 0,0 0,1-1,-2 1,1 0,-5 7,-5 5,-1-1,0 0,-1 0,-27 23,-38 26,71-56,19-11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1:25.77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0 0,'-7'0,"1"0,-1 0,1 1,0 0,-1 0,1 0,0 1,0 0,-9 4,13-5,0 1,0-1,0 1,0-1,1 1,-1 0,0 0,1 0,-1 0,1 0,0 0,0 1,0-1,0 0,0 1,0-1,0 0,1 1,-1-1,1 1,0-1,0 1,0-1,0 1,0-1,2 6,0 5,1 0,1 0,0-1,1 1,0-1,1 0,0 0,1 0,0-1,1 0,12 13,-5-7,1-1,1 0,0-2,1 0,37 22,-33-25,-1-1,1-1,1 0,0-2,0-1,0-1,1-1,-1-1,1 0,33-3,-54 1,0-1,0 0,0 0,1 0,-1-1,0 1,0-1,0 0,0 0,-1 0,1 0,0 0,0 0,0-1,-1 1,1-1,-1 0,1 0,-1 0,0 0,0 0,0-1,0 1,0-1,0 1,-1-1,1 0,-1 1,0-1,0 0,0 0,0 0,0 0,-1 0,1 0,-1 0,0-6,1-3,0 0,-1 0,0 0,-1 0,0 0,-1 0,-1 0,-6-20,6 25,0 1,-1-1,0 1,0 0,-1 0,0 0,0 0,0 1,0 0,-1 0,0 0,0 1,0 0,-1 0,-7-3,-15-7,4 4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06.29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727 297,'-4'-1,"1"0,0 0,0 0,0 0,0 0,0-1,1 1,-6-5,-5-1,-43-20,-1 3,0 2,-2 3,0 3,-87-13,-128-32,218 46,52 14,-55-16,-1 3,0 3,0 2,-63 0,64 8,-84 4,126-1,0 0,0 1,0 1,1 1,-1 0,-17 9,13-3,1 1,0 1,0 0,2 2,-1 0,-28 32,13-17,19-21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1:27.0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11'0,"1"1,-1 1,1 0,-1 1,0 0,1 1,-2 0,1 0,0 1,-1 1,12 7,-9-4,-1 1,1 0,-1 1,-1 0,0 1,-1 0,15 23,-22-31,-1 0,1 0,-1 0,0 0,-1 0,1 0,-1 1,0-1,0 0,0 1,-1-1,1 1,-1-1,0 1,0-1,-1 1,0 4,-1-4,0-1,1 0,-1-1,0 1,-1 0,1-1,-1 1,0-1,0 1,0-1,0 0,0-1,-1 1,1 0,-1-1,0 0,-6 3,-11 4,1-1,-1-1,-39 7,42-6,18-7,0-1,0 0,0 0,-1 1,1-1,0 0,0 1,0-1,0 0,0 1,0-1,0 1,0-1,0 0,0 1,0-1,0 0,0 1,0-1,0 0,0 1,0-1,1 0,-1 1,0-1,0 0,0 1,0-1,1 0,-1 1,3 1,0 1,0-1,0 1,0-1,0 0,0 0,1 0,3 1,47 18,60 15,-62-21,77 33,-121-44,0 0,0 0,-1 1,1 0,-1 0,0 1,-1 0,1 0,6 9,-11-13,-1 1,1 0,-1-1,1 1,-1 0,0 0,0 0,0 0,0 0,-1 0,1 1,-1-1,0 0,0 0,0 0,0 0,0 1,-1-1,1 0,-1 0,0 0,0 0,0 0,-1 0,1 0,-1-1,1 1,-4 3,-2 4,0-1,-1 0,-1-1,1 0,-1 0,-19 12,-66 33,54-32,26-14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1:27.67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12 21,'-3'1,"0"1,0-1,0 1,0-1,1 1,-1 0,1 0,-1 0,1 0,0 0,-1 1,1-1,1 1,-1-1,0 1,-2 5,-3 2,-1 2,1-1,0 1,1 0,0 1,0-1,2 1,-1 0,2 1,0-1,0 1,1-1,0 17,2-22,1-1,-1 1,1-1,0 0,1 1,0-1,0 0,1 0,0 0,0 0,0 0,1-1,0 1,0-1,1 0,0 0,0-1,0 1,0-1,1 0,0-1,0 1,13 6,-3-4,1 0,-1-1,1 0,0-2,1 0,-1-1,1 0,-1-2,1 0,0-1,30-3,-43 2,-1 0,0-1,-1 1,1-1,0 0,0 0,-1 0,1 0,-1-1,0 1,1-1,-1 0,0 0,-1 0,1 0,0-1,-1 1,0-1,0 1,0-1,0 0,-1 0,1 0,-1 0,0 0,0-5,3-11,-2-1,0 0,-3-42,0 39,1 13,0 0,-1 0,0 0,-1 0,0 0,-8-20,7 26,1-1,-2 1,1 0,0 0,-1 0,0 1,0-1,0 1,-1 0,0 0,1 1,-1-1,-1 1,-7-4,-13-4,-1 1,0 2,-1 0,-36-5,43 10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1:31.64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19'1,"1"2,-1 0,0 2,20 6,-17-5,-3 0,-1 0,1 1,-1 1,29 17,-42-22,1 1,-1 0,0-1,0 2,0-1,0 1,-1-1,0 1,0 0,0 1,-1-1,0 1,0 0,0-1,-1 1,1 0,-1 1,1 7,-3-9,0-1,0 1,-1-1,0 1,1-1,-2 0,1 1,0-1,-1 0,0 0,0 0,0 0,0 0,-1-1,1 1,-1-1,0 1,0-1,0 0,-1 0,1 0,-1-1,-3 3,-12 7,0-1,-1 0,-25 8,38-16,-38 13,35-13,0 0,0 1,0 0,1 0,-1 1,1 0,0 0,-10 9,19-13,-1-1,1 1,-1-1,1 1,-1 0,1 0,-1-1,1 1,-1 0,1 0,0-1,-1 1,1 0,0 0,0 0,0-1,0 1,0 0,0 0,0 0,0 0,0 0,0-1,0 1,0 0,1 0,-1 0,0-1,1 1,-1 0,0 0,1-1,-1 1,1 0,-1 0,1-1,0 1,-1-1,1 1,-1-1,2 2,35 19,-31-18,7 4,0 0,0 0,0 1,15 14,-25-19,0-1,-1 1,1 0,-1 0,0 0,1 0,-1 0,-1 0,1 0,0 1,-1-1,0 1,0-1,0 1,0 0,0-1,-1 1,0 0,1-1,-1 1,-1 0,1 0,-2 4,-1 5,-1-1,-1 1,0-1,-1 0,0-1,-1 0,0 0,-1 0,-11 12,0-4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1:32.31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65 69,'-4'1,"0"-1,1 1,-1 0,0 0,1 1,-1-1,1 1,-1-1,1 1,0 0,0 0,0 1,0-1,-4 4,-37 43,39-42,-2 3,0 0,0 0,1 0,1 1,0 0,0 0,1 1,0-1,1 1,1 0,0 0,-1 12,2-14,1 0,1 0,-1-1,1 1,1 0,0-1,0 1,1-1,0 0,1 0,0 0,1 0,-1-1,1 1,10 10,-9-12,0 0,0 0,1 0,0-1,1 0,0 0,-1-1,2 0,-1-1,0 0,1 0,0 0,0-1,0-1,0 0,1 0,-1 0,0-1,1-1,-1 0,1 0,-1-1,1 0,17-4,-21 2,0 1,0-1,-1 0,0-1,0 1,0-1,0 0,0 0,-1-1,0 1,0-1,0 0,0 0,-1-1,0 1,0-1,0 1,-1-1,0 0,3-12,2-10,-1-1,-2 0,1-32,-5 60,2-13,-2 0,0 0,-1 0,0 0,-1 1,-3-15,2 20,0 0,0 1,0 0,-1-1,0 1,0 0,-1 1,0-1,0 1,-1 0,-10-9,3 4,-2 1,0 0,0 1,0 0,-1 1,0 1,-31-9,23 10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0.96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3,'22'-2,"0"0,27-6,-32 4,0 1,0 1,1 1,30 1,-42 1,-1-1,0 2,0-1,0 1,0-1,0 1,0 1,-1-1,1 1,0 0,-1 0,0 0,8 7,-6-3,0 1,0-1,-1 1,1 0,-2 1,1-1,3 11,0 6,0 0,-2 1,-1-1,4 45,-7-50,-1-1,-1 1,-1 0,0-1,-7 31,7-45,0 0,-1 0,1-1,-1 1,0 0,-1-1,1 1,-1-1,0 0,0 0,0 0,-1 0,1 0,-1-1,0 0,0 0,0 0,-1 0,1 0,-1-1,1 0,-1 0,0 0,0 0,0-1,-6 1,-8 0,-1 0,-24-2,0 0,52 5,-1 0,0 0,0 1,9 9,-13-12,13 12,0 0,-1 2,18 25,-28-34,0 0,0 1,-1 0,-1 0,1 0,-1 0,-1 0,0 1,0-1,1 15,-3-15,0 0,0 0,-1 0,0-1,0 1,-1-1,0 1,-1-1,1 1,-2-1,1 0,-1 0,-1-1,1 1,-1-1,0 0,-1 0,0 0,-10 8,-3 3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2.3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40 1,'-5'0,"0"1,-1 0,1 0,0 0,0 1,0 0,0 0,0 0,0 0,1 1,-1 0,1 0,-1 0,1 0,0 1,1 0,-5 5,-7 9,1 0,-19 34,20-30,-41 55,30-43,0 1,-20 42,39-66,0 0,1 0,0 1,0 0,2 0,-1-1,1 1,1 1,0-1,1 0,2 22,0-26,-1-1,1 0,0 1,1-1,0 0,0-1,0 1,1 0,0-1,0 0,9 10,-5-8,1 0,0 0,0-1,1 0,-1-1,20 10,-3-6,0 0,1-1,0-2,1-1,37 4,-56-8,1-1,-1-1,1 0,-1 0,0-1,19-3,-25 3,0 0,-1 0,1 0,0 0,-1-1,1 1,-1-1,1 0,-1 1,0-1,1 0,-1-1,0 1,-1 0,1 0,0-1,-1 1,1-1,-1 0,0 1,0-1,0 0,0 0,0 1,0-1,0-4,1-13,-1 0,0 0,-1 0,-2 0,0 0,0 1,-2-1,-1 1,-11-31,11 41,0 1,-1 0,0 0,-1 0,0 0,0 1,-1 0,-8-5,13 9,-17-13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3.3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3,'43'-1,"-23"0,0 0,0 2,0 0,0 1,0 1,0 0,-1 2,20 7,-37-11,1 0,0 0,-1 1,1-1,-1 1,1 0,-1-1,0 1,1 0,-1 1,0-1,-1 0,1 0,0 1,-1-1,1 1,-1 0,0-1,2 6,-2-3,-1-1,1 0,-1 0,0 1,-1-1,1 0,-1 1,0-1,0 0,0 0,0 0,-3 5,-3 6,-1-1,0-1,-1 1,-1-1,0-1,-14 13,-84 76,107-100,0-1,0 1,0 0,0 0,0 0,0 0,0 0,0 0,1 0,-1 0,0 0,1 1,-1-1,0 0,1 0,0 1,-1-1,1 0,0 1,-1-1,1 0,0 1,0-1,0 0,0 1,1-1,-1 0,0 1,0-1,1 0,-1 1,1-1,-1 0,1 0,0 0,-1 1,1-1,0 0,0 0,0 0,0 0,1 1,5 3,1 1,-1-1,1-1,1 1,10 3,-8-3,271 145,-276-147,0 1,-1 1,1-1,-1 1,0 0,0 0,-1 0,1 1,5 10,-9-14,0 0,0 0,0 0,0 0,-1 0,1 1,-1-1,1 0,-1 1,0-1,0 0,0 1,0-1,0 0,-1 0,1 1,-1-1,1 0,-1 0,0 1,0-1,0 0,0 0,0 0,-1 0,1 0,-1-1,1 1,-1 0,1-1,-5 4,-6 3,0 0,0 0,-1-1,0-1,-1 0,1 0,-22 4,12-3,-33 16,37-14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3.97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40 0,'-14'15,"0"0,1 2,1-1,0 1,1 1,1 0,1 0,1 1,0 1,1-1,2 1,0 0,0 0,-1 32,6-45,0 1,1-1,0 0,0 0,1 0,-1 0,2 0,-1 0,1-1,0 1,0-1,1 0,0 0,0 0,0 0,1 0,0-1,0 0,0 0,0-1,1 1,0-1,0 0,0-1,12 6,3-1,0 0,0-2,1 0,0-2,0 0,0-1,22-1,-35-2,-1-1,1 0,-1 0,0 0,0-1,1-1,-1 0,-1 0,1 0,0-1,-1 0,0 0,0-1,0 0,0 0,-1-1,0 1,7-10,2-3,-1 0,-1 0,-1-2,-1 1,15-37,-22 48,-1 1,-1-1,1 0,-1 0,-1 0,1-1,-2 1,1-10,-1 13,-1 1,1 0,-1-1,0 1,-1 0,1 0,-1 0,1 0,-1 0,-1 0,1 0,0 1,-1-1,0 1,0 0,0 0,-5-5,-10-5,0 1,0 1,-31-14,48 24,-37-16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4.58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4,'4'0,"16"0,21-4,22-1,20 0,4 1,-6 2,-8 0,-14 1,-16 1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5.08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26,"-1"-8,1 1,1-1,6 32,-5-44,0 1,0 0,1-1,0 1,0-1,0 0,1 0,0 0,1 0,-1-1,1 1,0-1,7 6,7 3,1-1,32 17,6 3,-54-31,-1 0,0 0,1 1,-1-1,0 1,0 0,0 0,-1 0,1 1,-1-1,1 1,-1-1,0 1,-1 0,1-1,-1 1,1 0,0 6,-2-4,1 0,-2 0,1 0,-1 0,1 0,-2 0,1 0,-1-1,1 1,-2 0,-3 7,-8 10,0 0,-2-2,0 1,-29 27,43-47,-100 94,86-82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07.10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813 230,'-30'-2,"0"-1,1-1,-41-12,-8-2,-176-18,19 4,195 23,0-2,-41-16,3 0,45 17,0 0,0 3,-1 0,-1 2,-48 0,-72 4,-108 5,256-3,0 0,0 1,0 0,0 0,0 0,1 1,-1 0,1 1,0-1,0 1,0 0,0 1,1-1,0 1,0 0,-7 9,3-2,0 0,1 1,1-1,0 1,1 1,-9 26,9-20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5.71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8 1,'-2'1,"0"0,1 0,-1 1,0-1,1 1,0-1,-1 1,1 0,0 0,0-1,-1 1,1 0,1 0,-1 0,0 0,-1 4,-4 14,1 0,1 0,0 0,2 0,0 1,1-1,1 1,1-1,1 1,1-1,0 0,2 0,0 0,1 0,1-1,15 29,-17-40,0-1,1 1,-1-1,1 0,1-1,0 1,0-1,0 0,0-1,1 0,0 0,9 4,-14-8,0 1,0-1,0 0,1 0,-1 0,0-1,1 1,-1-1,0 0,1 0,-1 0,0 0,0-1,1 1,-1-1,0 0,0 0,1 0,-1 0,0-1,0 1,0-1,-1 0,1 1,0-1,-1-1,1 1,-1 0,1-1,-1 1,0-1,0 1,-1-1,1 0,2-6,1 1,-2-1,1 1,-1-1,0 0,-1 0,0 0,0-1,-1 1,0 0,-1-12,0 15,-1 1,0-1,0 1,0-1,0 1,-1 0,0-1,0 1,0 0,-1 0,0 0,0 1,0-1,-1 0,1 1,-1 0,0 0,-5-4,-17-11,0 2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6.3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4'0,"16"0,21 0,7 0,7 0,-2 0,-6 0,-12 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6.85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71 1,'-1'4,"0"0,0 0,0 0,-1 0,1-1,-1 1,0 0,0-1,0 1,-1-1,1 0,-1 1,-5 3,4-2,0 0,0 0,0 0,1 0,-4 8,4-7,1 1,0-1,0 1,1 0,-1-1,2 1,-1 0,1 0,0 0,0 0,2 7,-1-9,0 0,1 0,-1-1,1 1,1 0,-1-1,0 0,1 1,0-1,0 0,0-1,1 1,-1 0,1-1,7 6,40 24,57 26,-70-40,-2 1,0 1,-2 2,49 42,-77-59,0 0,-1 0,1 1,-1 0,-1 0,1 0,-1 0,0 1,-1 0,0-1,0 1,3 17,-5-20,-1 0,0 1,0-1,0 0,0 0,-1 0,0 0,0 0,-1 0,1 0,-1 0,0 0,0 0,-1-1,1 1,-1-1,0 0,0 0,0 0,-1 0,0 0,-4 3,-7 6,2-3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7.40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86 0,'-5'6,"1"0,-1 1,1-1,0 1,1 0,-5 10,-3 8,4-12,1-1,0 1,1 0,1 1,0-1,1 1,-3 23,5-29,1-1,1 0,-1 1,1-1,1 1,-1-1,1 0,0 0,1 0,0 0,0 0,0 0,1-1,0 0,1 1,4 5,0-3,-1-1,1 0,0 0,1-1,-1 0,2-1,-1 0,1 0,0-1,12 4,-6-4,1 0,-1-1,1-1,0 0,0-1,19-1,-33-1,1 0,-1-1,0 1,0-1,1 1,-1-1,0 0,0-1,0 1,0-1,0 0,-1 0,1 0,0 0,-1-1,1 1,-1-1,0 0,0 0,0 0,2-4,-2 3,-1-1,0 1,-1-1,1 1,-1-1,0 0,0 1,0-1,-1 0,1 0,-1 0,0 0,-1 1,1-1,-1 0,0 0,0 1,-3-9,-5-12,-1 0,-22-39,26 53,-1 0,-1 0,1 1,-2 0,1 0,-2 1,-16-14,8 11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7.99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4,'16'0,"20"0,12 0,9 0,7-4,-4-1,-12 0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8.53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60 0,'0'1,"-1"-1,0 0,0 0,1 1,-1-1,0 0,1 1,-1-1,0 1,1-1,-1 1,0-1,1 1,-1-1,1 1,-1 0,1-1,-1 1,1 0,0-1,-1 1,1 0,-1 0,-7 24,6-17,-4 10,-1 2,0 1,2 0,-5 37,9-50,1-1,0 0,1 1,0-1,0 0,0 1,1-1,0 0,1 0,-1 0,1 0,1-1,-1 1,9 11,-5-10,-1 0,2 0,-1-1,1 0,0-1,0 1,0-1,1-1,0 0,0 0,1-1,13 5,-18-8,-1 0,0 1,1 0,-1 0,0 0,0 0,0 0,-1 1,1-1,0 1,-1 0,0 1,0-1,0 0,0 1,0 0,-1-1,1 1,-1 0,0 0,2 6,-2-1,-1 0,1 1,-1-1,-1 0,1 0,-2 1,1-1,-1 0,-4 13,-1 4,-2 0,-15 35,16-45,0 3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09.13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5 109,'-2'0,"0"0,0 1,0-1,0 1,1 0,-1 0,0 0,0 0,1 0,-1 0,0 0,1 0,-1 1,1-1,0 0,-1 1,1-1,0 1,0 0,0-1,0 1,0 0,0 0,1 0,-1 0,1-1,-1 1,1 0,-1 4,-1 7,0 0,1 0,0 14,2-17,-1-1,2 1,-1 0,1-1,1 0,-1 1,2-1,-1 0,1 0,0-1,11 16,-13-21,0 0,1 0,-1 0,1-1,-1 1,1 0,0-1,0 0,0 0,0 0,1 0,-1 0,0-1,1 0,-1 1,1-1,0 0,-1-1,1 1,0-1,-1 1,1-1,0 0,0-1,-1 1,1-1,0 1,-1-1,1 0,-1 0,1-1,-1 1,5-4,-2 2,0-1,-1 0,0-1,0 1,0-1,-1 0,0 0,1-1,-2 1,1-1,-1 0,0 0,0 0,0-1,2-10,2-9,-1 1,4-43,-9 63,1-10,0-1,-1 0,0 0,-1 0,-1 0,-5-25,0 24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12.29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6'0,"-1"0,1 1,-1 1,1 0,26 9,-39-10,1 0,-1 0,0 1,1-1,-1 1,0 0,0 0,0 0,-1 0,1 1,0-1,-1 1,1-1,-1 1,0 0,0 0,0 0,-1 0,1 0,-1 1,1-1,-1 1,0-1,0 0,-1 1,1 0,-1-1,1 1,-1-1,0 1,-1 4,-1 1,-1 0,0 1,0-1,0-1,-1 1,-1 0,0-1,0 0,0 0,-1 0,0-1,-11 10,5-3,11-12,-1 0,1 1,0-1,-1 0,1 1,0-1,1 1,-1 0,0-1,1 1,-1 0,1-1,0 1,0 0,0 0,0-1,0 1,1 0,-1-1,1 1,0 0,0-1,0 1,0-1,0 1,0-1,3 4,5 7,-1-1,2 0,17 18,-23-25,25 24,-16-17,-1 0,-1 0,0 2,14 20,-23-29,0-1,0 1,0-1,0 1,-1 0,1 0,-1-1,-1 1,1 0,-1 0,1 0,-1 0,-1 0,1 0,-1 0,0 0,0 0,0 0,-4 8,-6 10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12.79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3 63,'0'2,"-1"1,0 0,0 0,0-1,0 1,-1-1,1 1,-1-1,0 1,-2 2,-2 4,-5 7,1 1,0 0,2 0,0 1,-10 36,16-49,1-1,0 1,0 0,1 0,-1 0,1 0,0 0,0-1,1 1,0 0,0 0,0 0,0 0,1-1,-1 1,1-1,1 1,-1-1,0 0,1 0,0 0,0 0,0 0,1 0,-1-1,1 0,0 0,0 0,5 3,3 0,-1-1,1-1,0 0,1 0,-1-1,1-1,-1 0,1-1,0 0,0-1,-1 0,1-1,0 0,19-6,-28 6,0-1,0 0,-1-1,1 1,-1-1,0 0,1 1,-1-1,0-1,0 1,-1 0,1-1,-1 1,0-1,0 0,0 0,0 0,-1 0,1 0,-1 0,0 0,0 0,0-5,1-14,0 0,-1-1,-3-25,0 18,-1-102,2 102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17.09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54 1,'13'0,"0"0,0 1,1 0,-1 1,0 1,16 5,-23-6,-1 1,1 0,-1 0,1 0,-1 1,0-1,0 1,-1 1,1-1,-1 0,0 1,0 0,-1 0,1 0,4 10,-6-9,1 0,-1 0,0 1,-1-1,0 0,0 1,0-1,0 0,-1 1,0-1,-1 1,1-1,-1 0,-1 1,1-1,-1 0,0 0,0 0,-1 0,0 0,-5 8,-3 2,1-1,-2-1,0 0,-1 0,0-1,-21 15,31-26,1 0,-1 0,0 0,1 1,0-1,-1 1,1 0,0-1,0 1,1 0,-1 0,0 0,0 3,2-3,-1-1,1 0,0 1,1-1,-1 0,0 0,1 1,-1-1,1 0,0 0,-1 0,1 0,0 0,0 0,1 0,-1 0,0 0,1 0,-1-1,3 4,45 40,-38-36,-1 0,0 1,-1-1,11 16,-17-21,0 1,-1 0,1 0,-1 0,0 0,-1 0,1 0,-1 1,0-1,0 1,-1-1,0 1,0-1,-1 10,-1-6,0 0,-1 0,0 0,0 0,-1 0,0-1,-1 1,1-1,-2 0,1-1,-1 1,-7 6,-8 7,0-1,-37 26,-13 4,62-43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07.88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22 365,'-16'-1,"0"-1,0 0,1-2,-1 0,-20-8,-19-5,-674-156,644 155,-150-51,190 55,-1 2,0 1,-1 3,-59-2,82 8,7-1,-1 2,0 0,1 1,-1 1,0 0,1 1,-1 1,1 1,0 1,0 0,0 1,1 1,-27 15,16-6,0 2,1 0,2 2,0 0,1 2,-24 28,44-46,0 1,1-1,0 0,-1 1,2-1,-3 7,0 5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17.88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74 94,'-49'161,"42"-137,2-1,-6 45,10-59,1 0,0 0,0 0,0 0,1 0,1-1,-1 1,2 0,-1 0,7 14,-6-19,-1 0,1-1,0 0,0 1,1-1,-1 0,1-1,0 1,-1 0,1-1,0 0,0 0,1 0,-1-1,0 1,0-1,1 0,-1 0,8 0,9 1,-1-2,40-2,-53 1,3 0,0 0,0 0,0-1,0 0,0-1,0 0,-1-1,1 0,-1-1,0 0,0 0,0-1,-1 0,0 0,0-1,-1 0,0 0,0-1,0 0,-1 0,0-1,-1 1,0-1,0 0,-1-1,-1 1,1-1,-1 0,3-20,-4 19,-1-1,-1 0,0 1,0-1,-1 0,0 1,-1-1,-1 1,1-1,-7-14,3 13,-1 0,0 1,-1 0,0 0,0 0,-1 1,-1 1,-13-12,-32-25,33 29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24.27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61,'3'0,"10"0,14 0,17 0,18-3,5-3,-1-2,-4-5,-9 0,-17 3,-14 2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24.88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69 0,'-1'4,"1"-1,-1 0,0 1,0-1,-1 0,1 0,-1 0,0 0,1 0,-4 3,-5 9,3 0,0-1,2 1,-1 0,2 0,0 1,1-1,-3 29,6-41,1 0,-1 0,1 0,-1 0,1 0,0 0,0 0,0 0,1-1,-1 1,1 0,-1-1,1 1,0-1,0 0,0 1,4 2,4 3,1 0,20 12,-8-6,-22-13,31 20,56 49,-79-61,-1 0,0 0,0 1,-1 0,0 0,0 1,-1 0,-1 0,0 0,4 15,-2 1,-1 1,-2 0,2 39,-7 86,0-111,1-34,0 5,-1 1,0 0,-4 18,4-28,0 0,0 0,-1 0,1-1,-1 1,0 0,0-1,-1 1,1-1,-1 0,1 0,-1 0,0 0,0-1,-6 5,-2 0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25.52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40 169,'-2'1,"0"-1,1 1,-1 0,1 0,-1 0,1 0,-1 0,1 1,0-1,0 0,0 1,-1-1,1 0,0 1,1-1,-1 1,0 0,0 1,-3 3,-17 28,2 2,-22 53,34-72,2 1,0 0,0 1,2-1,0 1,1-1,2 31,0-46,0 1,0 0,0-1,1 1,0-1,0 1,0-1,0 1,0-1,1 0,-1 1,1-1,0 0,0 0,0 0,1-1,-1 1,1 0,-1-1,1 1,0-1,0 0,0 0,0 0,0-1,0 1,1-1,-1 1,1-1,-1 0,1-1,-1 1,1 0,-1-1,1 0,0 0,-1 0,1 0,-1-1,6 0,7-3,1-1,-2 0,1-1,0-1,-1 0,-1-1,1 0,-1-1,-1-1,1-1,11-12,-2 1,-2 0,-1-2,-1 0,-1-2,17-29,-32 48,1 1,-1-1,0 1,0-1,-1 0,0 0,0 0,0 0,-1-1,0-7,-1 9,-1 0,0 0,0 0,-1 1,0-1,0 0,0 1,-1-1,1 1,-1 0,0 0,-7-8,-6-6,-2 0,0 1,-2 0,0 2,0 0,-2 1,-23-12,17 10,9 5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29.38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11,"0"16,0 15,0 8,0 3,0-4,0-2,0-6,0-5,0-9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29.93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132'-1,"150"3,-276-2,-1 0,1 0,-1 1,0 0,1 0,-1 1,0-1,0 1,0 0,0 0,0 1,7 4,-9-4,0 0,0 0,0 1,0-1,-1 1,1 0,-1 0,0 0,0 0,0 0,-1 0,1 1,-1-1,0 0,0 6,4 26,-2 1,-2-1,-1 0,-2 1,-1-1,-2 0,-2 0,-19 59,-7-1,-87 173,106-240,-29 65,40-84,0 0,0 0,1 0,0 0,1 0,0 1,0-1,1 0,1 12,7 8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30.46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63 97,'-13'10,"1"0,0 0,1 1,0 1,1 0,0 0,1 1,0 0,1 1,-8 18,8-14,1-1,1 1,1 1,0-1,1 1,1 0,1 0,0 22,2-37,0 0,0 0,1 1,-1-1,1 0,0 0,0 0,1 0,-1 0,1 0,0 0,0 0,0 0,0-1,1 1,-1-1,6 5,-4-4,1-1,-1-1,1 1,0-1,0 0,0 0,0 0,0 0,0-1,0 0,0 0,1 0,8-1,-8 1,0-1,-1 0,1 0,0 0,-1-1,1 0,0 0,-1 0,0 0,1-1,-1 0,0 0,0-1,0 0,0 0,0 0,0 0,-1 0,0-1,0 0,0 0,0 0,0-1,-1 1,0-1,4-7,3-7,-2-1,0 0,-2 0,0-1,-1 1,4-35,0-129,-9 172,1 7,-1-1,0 0,0 0,0 0,-1 0,0 0,0 0,0 1,-1-1,0 0,0 1,-4-8,-5 2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34.96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0 1,'0'4,"-4"16,-1 17,-4 10,-4 8,1 3,-3-2,-2-1,2-11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35.51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,'54'-1,"-34"-1,1 1,-1 1,0 2,36 5,-54-6,1 0,-1 0,1 0,-1 0,0 1,0-1,0 1,1-1,-2 1,1 0,0 0,0 0,0 0,-1 0,1 0,-1 1,0-1,0 0,0 1,0-1,0 1,0-1,0 1,-1-1,1 5,0 7,0 0,-1 0,-2 23,1-23,-4 25,-1 0,-1-1,-22 63,-53 110,21-62,29-51,22-65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36.19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1 118,'-5'7,"0"1,1-1,0 1,0 0,0 1,1-1,1 0,-4 16,0-1,-6 11,4-10,0 1,2 0,1 0,-3 28,8-51,1 1,-1-1,1 1,-1-1,1 1,0-1,0 1,0-1,0 1,0-1,1 0,-1 0,1 0,0 0,-1 0,1 0,0 0,0 0,0-1,0 1,1-1,-1 0,0 1,1-1,-1 0,0 0,5 0,-3 1,1 0,0-1,0 0,0 0,0 0,0-1,0 0,0 0,0 0,0 0,0-1,0 0,8-2,-7 0,0 0,-1-1,1 0,-1 1,0-2,0 1,-1-1,1 1,6-11,35-58,-18 26,13-9,-25 36,0-1,-2-1,17-34,-30 54,0 0,-1 0,1 0,-1-1,1 1,-1 0,0 0,1-1,-1 1,0 0,-1 0,1-1,0 1,-1 0,1 0,-1-1,0 1,-1-3,0 1,0 0,-1 1,1-1,-1 0,0 1,0-1,-1 1,-6-5,3 2,-1 1,0 0,0 1,-1 0,0 0,1 0,-1 1,-16-3,-21 3,26 4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4:08.81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736 344,'0'-2,"0"1,-1-1,0 1,1-1,-1 1,0 0,0-1,1 1,-1 0,0-1,0 1,-1 0,1 0,0 0,0 0,0 0,-1 0,1 1,-1-1,1 0,-2 0,-37-15,34 14,-21-7,-27-10,-84-41,-116-62,223 111,-61-14,28 9,8 4,0 1,-1 4,0 2,0 2,-61 5,64 3,0 2,1 3,0 1,-91 34,109-31,-35 10,64-22,0 0,0 0,0 1,0-1,0 1,1 1,-1-1,1 1,0 0,0 0,0 0,1 1,-1 0,-3 5,-2 6,0-1,1 2,-11 25,10-18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39.61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4,'18'-1,"0"0,21-6,24-2,360 4,-416 5,0 0,-1 1,1 0,0 0,-1 1,1 0,-1 0,1 0,-1 1,7 3,-11-4,0 0,0-1,0 1,0 0,-1 0,1 0,-1 0,1 0,-1 0,0 1,1-1,-1 0,-1 1,1-1,0 1,0-1,-1 1,0-1,1 1,-1-1,0 1,0 0,0-1,-1 1,1-1,-1 1,1-1,-1 1,-2 3,-2 7,0 0,-1 0,-1-1,0 0,-1 0,0 0,-17 16,-77 72,82-83,-16 10,30-24,0 0,0 1,1 0,-1 1,1-1,0 1,0 0,-6 9,10-12,0 0,1-1,-1 1,1 0,-1 0,1 0,0 0,0 0,0-1,0 1,0 0,0 0,0 0,1 0,-1 0,1-1,0 3,16 31,-12-26,19 30,53 65,-6-11,-68-88,0-1,0 1,0-1,-1 1,0 0,0 0,0 0,-1 0,1 0,-1 1,-1-1,1 10,-1-11,-1 0,1 0,-1 1,0-1,-1 0,1-1,-1 1,0 0,0 0,0-1,0 1,-1-1,1 0,-1 1,0-1,-5 5,-12 8,-1 0,-1-2,-34 19,-79 30,52-26,56-25,10-6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40.8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68 1,'-12'12,"2"1,0 0,0 1,1-1,-13 30,-26 78,48-120,-11 29,2 2,1-1,1 1,-2 40,8-59,0 0,1 0,0 0,1 0,1 0,0-1,1 1,0 0,1-1,0 0,1 0,0 0,11 16,-13-24,1 0,0 0,0 0,1-1,-1 1,1-1,-1-1,1 1,0 0,0-1,0 0,1-1,-1 1,0-1,1 0,-1 0,1 0,-1-1,1 0,-1 0,1 0,9-3,2 1,-1-1,0-1,0-1,0 0,0-1,19-11,-21 10,-2 0,1-1,-1-1,0 0,0 0,-1-2,-1 1,0-1,0 0,-1-1,0 0,-1-1,-1 0,0 0,-1-1,0 1,-1-1,0-1,-1 1,-1 0,0-1,-1 0,0-16,-1 17,-1-1,0 1,-1-1,-3-16,2 25,1 0,-1 1,0-1,0 1,-1-1,0 1,0 0,0 0,0 0,-1 1,0-1,-8-6,-1-1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42.13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,'68'-1,"73"1,-126 1,0 1,0 1,0 0,-1 0,1 2,25 10,-36-13,0 1,0-1,-1 1,1-1,-1 1,0 0,1 0,-1 0,-1 1,1-1,0 1,-1 0,0-1,0 1,0 0,0 0,-1 0,0 1,1-1,-1 0,-1 0,1 1,-1-1,0 1,0 4,0-3,-1 1,0 0,0 0,-1 0,0 0,0-1,-1 1,1-1,-1 0,-1 0,1 0,-1 0,0 0,-1-1,-4 6,7-9,1 0,-1-1,1 1,0 0,0 0,0 0,0 0,0 1,0-1,1 0,-1 0,1 0,-1 1,1-1,0 0,0 1,0-1,0 0,0 0,1 1,-1-1,0 0,1 0,0 1,0-1,0 0,0 0,0 0,0 0,0 0,3 3,5 7,0 0,1 0,19 16,-21-21,21 19,-14-13,-1 0,0 1,-1 0,22 32,-32-43,-1 0,-1 1,1-1,0 1,-1-1,0 1,0-1,0 1,0 0,0 0,-1 0,1 0,-1-1,0 1,-1 0,1 0,-1 0,1 0,-1-1,0 1,-1 0,1-1,-1 1,1-1,-1 1,0-1,0 0,0 0,-1 0,-5 5,-3 3,-2-1,1-1,-1 0,-1-1,0-1,-23 10,5-2,12-5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42.69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84 10,'-3'0,"1"0,-1 1,0-1,1 1,-1 0,1 0,-1 0,1 0,0 0,0 1,-1-1,1 1,-4 3,-24 27,23-23,-10 10,2 1,-24 39,33-48,0 0,1 0,1 0,0 0,0 1,1-1,1 1,-2 13,4-23,0 0,0 0,0 0,1 0,-1 0,0 0,1 0,-1 0,1 0,0 0,0 0,0 0,0 0,0-1,0 1,0 0,0-1,1 1,-1-1,1 1,-1-1,1 0,0 0,-1 1,1-1,0 0,0-1,0 1,0 0,0 0,2 0,7 2,1-1,0 0,0-1,15 0,-6 0,14 3,-4-1,38 0,-62-3,1 0,-1-1,0 0,0 0,-1-1,1 1,0-2,0 1,-1-1,1 0,6-4,-9 4,-1-1,1 0,-1 1,0-1,0-1,-1 1,1 0,-1-1,0 1,0-1,0 0,0 1,-1-1,0 0,0 0,0 0,-1-5,2-14,-2 1,-3-29,3 49,-1-9,0 0,-1 0,0 0,-1 0,-1 1,0-1,0 1,-6-11,-6-2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43.63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15'0,"17"0,18 0,9 0,1 0,-5 0,-12 0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44.10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5 1,'-5'5,"1"1,0-1,0 1,0 1,0-1,1 0,0 1,0-1,1 1,0 0,0 0,0 8,1-10,0-1,1 1,-1-1,1 1,1-1,-1 1,0-1,1 1,0-1,0 0,1 1,-1-1,1 0,0 0,0 0,0 0,0 0,1 0,5 6,11 5,1 0,0-1,1-1,39 18,-39-21,0 1,-1 0,-1 1,0 2,26 22,-41-31,0 0,0 0,-1 0,0 1,0-1,0 1,0 0,-1 0,0 0,0 0,-1 0,0 0,0 0,0 1,-1-1,0 0,0 1,-1-1,1 0,-1 1,-2 5,-3 11,-1-1,0 1,-2-1,-15 26,-10 14,-48 61,31-48,47-69,-15 28,18-33,1 0,0-1,-1 1,1 0,0 0,-1 0,1-1,0 1,0 0,0 0,0 0,0-1,0 1,0 0,0 0,0 0,0-1,1 1,-1 0,0 0,1 0,-1-1,0 1,1 0,-1-1,1 1,-1 0,1-1,-1 1,1 0,-1-1,1 1,0-1,-1 1,1-1,0 1,0-1,0 1,21 3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44.69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16 133,'-4'1,"1"0,-1 0,1 0,-1 0,1 1,0-1,-1 1,1 0,0 0,0 0,0 0,1 1,-1-1,0 1,1 0,0-1,-1 1,1 0,0 1,1-1,-3 4,-3 7,0 1,1-1,-7 24,7-17,2 0,0 0,1 0,2 1,0 30,2-43,0 1,0-1,1 0,0 1,1-1,5 13,-5-17,-1-1,0 0,1 1,0-1,0 0,0 0,1-1,-1 1,1-1,0 0,0 0,0 0,5 3,-5-4,0 0,0 0,0-1,0 0,0 1,1-1,-1 0,0-1,0 1,1-1,-1 0,0 0,1 0,-1-1,0 0,1 1,-1-1,0-1,0 1,0-1,0 1,0-1,0 0,0-1,-1 1,1-1,-1 1,0-1,5-6,6-7,0 0,-2-2,0 1,16-36,-17 33,43-73,-22 40,44-101,-73 149,-1-1,0 1,0-1,0 1,-1-1,0 1,0-1,0 0,-1 0,0 1,0-1,-1-7,-5-1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48.81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4 1,'0'8,"-8"10,-6 13,-5 6,1 1,0-4,3-2,3-8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49.27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29'1,"0"2,0 0,36 10,84 30,-103-29,-41-12,1-1,-1 1,0 0,0 1,0-1,0 1,0 0,0 1,-1-1,0 1,1-1,5 8,-8-7,1 0,-1 0,0 0,0 1,-1-1,1 0,-1 1,0-1,0 1,0-1,-1 1,0-1,0 1,0 0,0-1,-1 5,-8 36,-1-2,-3 0,-25 62,-13 38,48-131,-18 60,-16 106,36-175,1 0,-1 0,1 1,0-1,0 0,0 0,1 0,-1 0,1 0,-1 1,1-1,0 0,0 0,0-1,1 1,-1 0,1 0,0-1,-1 1,1 0,0-1,1 0,-1 1,0-1,1 0,-1 0,1-1,3 3,13 4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7:12:49.95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4 0,'-3'1,"0"-1,0 1,0 0,1 0,-1 0,0 0,1 0,-1 0,1 1,-1-1,1 1,-3 2,-25 25,29-29,-13 17,0 0,1 1,0 1,2 0,0 0,1 1,1 1,1-1,-6 26,9-28,0 0,2 0,0 0,2 1,0-1,0 1,2-1,0 1,2-1,0 0,7 24,-8-35,1 1,1-1,-1 1,1-1,1 0,-1-1,1 1,5 5,-8-10,0 0,0 0,0 0,0 0,0-1,1 1,-1-1,0 0,1 0,-1 0,1 0,-1 0,1 0,-1 0,1-1,0 1,-1-1,1 0,0 0,-1 0,1 0,0 0,-1-1,1 1,-1-1,1 0,3-1,-3 0,-1 1,1-1,-1 0,0 0,0 0,0 0,0 0,0-1,0 1,-1 0,1-1,-1 1,0-1,1 0,-1 0,0 1,0-4,11-53,-12 55,7-70,-3-1,-9-118,5 187,0 0,-1 1,0-1,0 1,-1-1,-2-6,3 10,0 0,0 0,0 1,0-1,-1 0,1 1,-1-1,1 1,-1 0,1-1,-1 1,0 0,0 0,1 0,-1 0,0 0,0 1,0-1,0 0,-3 0,-32-3,-3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66D44A-A563-4B45-9109-9275DAC84C53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D22F78-1A3E-426E-9562-4B6C8D59ED5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3186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721838-05EF-A9E7-A059-7C1DC2110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9A3B746-1EE2-1DA3-A370-208405008A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CA4F58C-14B0-CB7C-CBFF-CF7A315C04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A4BD9C9-917D-9B32-9BD7-B3ACA32452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9153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EE2D54-3B3D-7294-918F-02CDDF2A82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E73259E-040A-700A-E698-2FD6EBC6DE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95D4A16-A55E-3D77-B6D8-98A43F6153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BBE4D19-4A3F-B9B4-61D0-59524D6A46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35274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A4393F-6776-7DF6-EA94-6D6E35496A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674DB7E-0F02-D85C-4D79-C4022524F5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90606B7-03AA-B032-7E0B-D377608F38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71FA2CC-20DB-C75D-329E-8123D88DCE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080755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D7023-94E7-C58B-ADD9-C7AD2AEDE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E1C2660-F584-08F2-36D3-CE1EC04DBC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F03FAB4-107D-BCE4-B243-6586E80140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964B33B-2454-C324-FBDA-B33F57FC14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29468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3C99FD-7ACD-7FE8-C80B-4691B7B4FB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D3B7C7E-6382-69D8-7DAE-06BB6DB74B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4C1B091-9698-4F39-0A8B-A4D197D59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9C8D1E1-AEE4-5D26-6D8C-A4CC44F3A8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39600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34C61D-DF0B-D4A6-6AB7-161F977A6D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9FE8975-E588-62E9-97F7-AE987A09F0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11E9058-34F6-0F57-AC93-051632A46A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8C9A175-6AF6-ACAC-D1DA-B8A37FC93E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66626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A9ADBA-636F-E4BD-5F0F-2B79ABA16B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BD9AB7D-E1E7-8189-965C-F44D6A0AD7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8EE66B2-6F5B-F2D5-71BC-0BBEDEDADE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C75BB13-DBC0-8275-33AD-F6B6DC34F9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944918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7BA98-BC18-3AA0-8D0C-9BC203810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3CF7600-EA72-E7E9-F1BF-3D9D4E6BCA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E74A8A4-CA64-623A-435E-D33FD7944B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608607D-4BD9-0CEF-6900-47FCB227FA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4650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2372C3-869F-6550-42F3-D338B1615A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6A5E75D-BFE3-FD59-2D5F-B8C870A343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DE6561C-4C24-70EC-2433-CE9CDB0E6C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C7164D3-3B9B-6FD8-AD31-2401BE143C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89402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248D00-D681-DDD7-41D2-7A6C51C0C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6590F1D-0553-39FE-6819-8244DBBDFA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ACC5E04-9EEC-E22F-FB80-33D88CD20F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7784740-52FF-6E94-0F9C-C5A429F44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497087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C07970-B03C-896D-538D-7A60BFA3A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EFAC1E3-112C-54E7-03D5-EF9DDB617A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FE8DD11-017A-65D6-52AB-7F9EA2A92C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28891EF-F974-C9F6-7539-2C682A0B10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8187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1B9E64-5BC7-E29B-A798-C0B932D372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9DF56B6-530D-3D43-7B3A-B234836FF3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FBD2052-A9F5-5480-0745-26C923AF85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4688AA0-29A7-A4CC-B8B8-BD6C993FCB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02991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4EBD3E-F9EE-E111-2C3D-C11FE3BFE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727DE7C-75BA-EB4B-AE56-7A2FFBDA0A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BEDEFB3-0CEA-BBDA-2FB5-25EEAA6A57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557346-462D-E3AD-D75B-17B91CDF95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79904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1D3622-05B3-D171-721D-9231F558B5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FE52D7B-5EFC-7301-B84C-771B7280A7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6C5A769-7CC4-5B22-E387-BA35930B08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7548A1C-B23D-2A42-E963-C796421823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863757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15063-DFAA-4656-E14F-07097CDAF2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3AA54EA-EA81-BA6C-9D0E-28B31715F7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5E4C722-58BA-4BF2-9F9C-06A4BA4C3D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B5E35A5-06F5-1061-25B7-05BF575E9A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40989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624592-3E3C-C2AC-E3DC-A4507CB2DB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71D2798-7C31-76E2-6DD4-B177A6D08D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CC27E01-3B95-D3C6-3EC6-10482E7A90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3B38E70-D833-5E44-4F4D-20BC3AF311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47188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591BEB-9D9B-C120-D2A2-2A520C04AB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3D4A6B2-41A4-DBC0-D842-B6774C3683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856F2A8-201F-78C0-6FA5-CCFDE023E7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831085B-B5A0-1F9B-2385-DD900AC3D1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6024510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3CBFA7-0071-C4A8-1E14-9F650921FB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E28DFB2-BF6F-EFEB-E565-435DEC28A7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6D549E3-DAF7-ED7B-C562-0774732533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D3B4BF4-CF18-AB9E-C7D9-E32A79791E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72123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A6C6C5-8A16-B9D1-88F8-AC5B3E5C61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5B20B0E-2C27-4E2C-EC5A-89A549822E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D23CFBC-E4FE-DA39-9544-AFDE73248D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0723B33-7663-509A-A35B-48A141682D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900520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E63726-BC70-281E-D450-3C5170DFB3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5FE4879-ECA6-F292-BBE8-CC5B736EC9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9A2DD63-A436-ABB4-7447-9C0F187823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676DE3-3F58-3CCF-408C-6B9D34D57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2590948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97B5C8-4753-8929-2B85-1CB3EA7AEA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C1357B5-75E2-D084-314B-96C51EF61D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2278D0A-BA7B-CC8E-7D8C-50A3661F3F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04A243A-F41C-C501-19E8-626925A4B2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285718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A3E25-FDC4-636D-2174-0D614DA95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717688A-2E0D-38FE-59B0-F1714056A5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68A58135-FCA6-C37B-6A50-F4AAA871F2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FA5191F-2C5E-90C5-6728-A16100B806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90693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49FF01-0AF5-5D39-FBA5-5ADFFD561D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4E228B5-82AE-43A7-63B5-C415F39F9C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39C1120-D384-CAA5-E980-83154F9165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BD07ED-9EFF-A002-D27C-900CAB2ACD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109110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C9A566-1AD5-391E-5289-2635CE47BC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A223EE1-F190-01CA-71FA-5990A9BA74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C92C663-7A2B-BF17-1CFE-5EC9B02FEF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50EBE94-CCFD-6A8D-3AF7-B3C042CF65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5314966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9510BE-36F7-2E23-6368-C7F5E70DCE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1472733-8178-F2BF-BBD3-63185FD208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E107980-60AC-EDA0-A843-6B1D0708F8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59EC4E5-0030-9FFD-DA16-1824C5EE83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544110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82F1D3-439F-661C-D6FB-48AC246290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1A3BC19-AEBD-ACD8-B974-AA50E92F7A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445AA45-2ED4-E1B5-4B40-8825CBDC25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AC77714-DB38-DB02-7524-2B2DC128F8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3573260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596A26-8DAE-EC5F-0EFF-3A1DC7504D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EF6CBFB-E308-FC68-5F75-3542F74BEE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3A62FAE-3720-BFD9-5459-EEE00ACD2B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8C6372D-4896-864F-4DC2-0565908D9B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571013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8D65AA-307D-9A8C-97C6-33642DE793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067AC6A-2CF8-2A76-136B-ABC97F166B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9F08BDA-BE27-CEF5-8A7C-C44B898328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96DF5F-61B9-2651-BB1C-ABCFB7D995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5931776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F37F8C-B6DC-DE6A-4393-F42D94A8C7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40AE6F5-BA45-2319-9A6D-026FAC4948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CA29A7D-0089-FF35-15C6-12247ADEEE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549BACF-75B8-9DFF-BFA2-756CC698C4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4615587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9D5365-3413-33F8-2456-2DD09B700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2B7EF4E-1442-F5D9-3E77-DB8601D0FE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7FB2654-F78C-9320-F9A7-4CCC848C23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8FFEF00-D055-44D3-2312-1A5D3926B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903210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85138-55E1-3072-4CAD-7141A76A0C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6FEA0F5-5C5A-7C67-BCDD-594241E8AC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4DD86EE-27D6-4589-DB73-9739FA4402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477AE1B-06AE-F3D6-3EFB-07D00CEC4A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8276809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1DBD4F-91AA-6B14-63C5-D01EE9801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47337B2-8238-A39D-4F7A-E6B01A98BF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C1A47E9-8963-80C2-289C-572A023BFF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F64DEF9-A1A8-D7B5-FE72-707411CCA7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631125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D01CC8-6C82-8A40-8655-E064F87AA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D1CE3AE-1663-1FA8-441C-B37214577A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B103EF2-24D3-CE35-7D84-5FD4FCCB3E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31F5E3F-77F0-9A47-C5BE-61029BDC6D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06169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0689D7-48AC-B8DC-C72F-7C7C3CC634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6DE482F-53DD-A049-6AB4-9B5EA5CD7E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0C49E41-AEDE-09B9-2676-1CE69E1402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F3F29FA-624D-1384-9839-E851FBBF1C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0352278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89950B-FAE9-D484-81D9-4739133A4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21A839C-A0CC-CC52-E942-C158D400DD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0F72980-A80C-D31E-B6A1-8B4B6DF10F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5782776-EE3D-64A4-9B2B-009F44756C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962038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D67AAD-BCDC-114D-FC50-7B3A0CEF3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0812B34-592C-87CE-2B0C-68DC55A402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E165477-4851-CBBE-777E-6432C3550F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8438B4-E64B-71A6-FA09-2078812C13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141704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F0F3AC-8065-839F-A674-B62FFF3E60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730714D-4F5C-B5E0-92DE-103EBB61A7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8EA98F4-4269-558A-0476-8E56A2F2A3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ED291C6-D7D6-3FC7-573E-159B90732B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5978675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F1EAA3-5F9F-945B-2D22-9F2EC3878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53A43A2-A1CD-FF5B-D720-AFB80962E9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64B9D12-C35C-5892-A4EB-81D9FF6BBA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F54FC5A-8E94-BA61-EE6D-122B50ED29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5654473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BEB03E-F7B4-A417-7808-EDD24BCDEA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336784B-D873-966A-6515-FF46C2542A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63EEF7F-A99D-3EB2-CD40-B79C3A6425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B410F6E-E835-6E4E-0940-D9240E6AED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378742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7C466-C809-D0AB-0C75-2294812063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3AE4B27-39D6-9F3D-BF05-BA3C770C8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1229AAC-84F8-D75D-492D-78189F9AE4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EBB6F78-6606-68C3-B6B3-DCACDE0F24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869615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5B06E3-2EC4-FA3B-9DD2-2F7E289AC5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4D7B2F2-6DBF-0E02-0773-692291BF9E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07BC482-4BBC-AABD-7371-459697AF5A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2343FA9-0126-44AD-4FEC-76CF249D01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86104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437875-2D12-23DD-7271-5EF2FD3FED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F4B80B8-0F27-B8F8-50C1-93D57253E0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D167884-E4B6-908B-E6EB-14DCEDF757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89613DE-20AF-8E41-A71E-1554EE31DD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358174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05025-BA4E-60C2-FECE-47B27B909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593565A-7CE2-7F5E-B3F6-9DB8F28A9D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F6C2847-781E-CAE7-2748-270BEFBC56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C985BA5-8061-5800-04FC-67099363A3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025037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271A46-49B0-68E3-9780-3E74A4DAB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193C8BC-D834-8724-707A-4D32D76A30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D748C6C-A22C-9451-0A64-012ABA031A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8405BE6-67A6-D4F3-C46C-F70F090198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64419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7D07A9-0D4D-690E-1B21-4B854353E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039A42F-0705-AB0D-3DB5-66823348D2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F856757-82A5-76B1-417D-5AFC768C0E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9EB65BC-9331-14E8-4D2E-667D2936BF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5133161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CC779F-1257-AB25-B123-0A945318CE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EBD4358-F2C9-3830-89FB-45BA5800A3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9A823BE-AF8D-B823-76AE-2A960AA410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4F637C3-2399-C118-F7E4-55AF0EFAB7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561287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7C7FDA-4C1A-1EFA-D257-5107927A5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A7BE88C-500F-75B1-AD91-FC4F1CAE2B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2C43EF4-3975-C384-0324-3C192DF572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324B58C-2E38-2C55-AAA0-A1D1FCD993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446297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A8E166-7B3A-64B5-B29C-5A90A9ECD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C733D4D-E175-3C2E-3BDA-A567D9CDE0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34FD6BD-6AF6-FA35-CE3D-D4F5CD15CB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9F4B01D-DF01-1FFF-73B9-7968434B10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43465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12F9E-8B5B-ED34-58EB-C92101DF4C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55A0BAD-7769-A700-DAF7-45E236764C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F0DA738-2AE4-F2A4-6D2B-7B0A330274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5787365-9B58-ED17-6BCA-5CE81DDA47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0619977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4D6195-A1AF-E582-3436-6607BC8C3B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23059F1-FD8A-98DE-47FF-B5035E4895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C600D77-40A9-73C6-077C-CFC038F3B6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6A676E2-E637-96DB-471B-28FA40E137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7728503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F770C0-998C-4F3B-6A0D-C50AE3838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909398B-69C0-68F6-E779-2602AB4B66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194083B-C564-2BCA-480A-2B8A2CC0C9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E08D823-3A5F-1134-2EB8-D6ABDA1FE1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51033998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0BBB1-24FB-0ADB-6667-786EE12B3D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E78B97E-5358-74DA-AA0F-0FE5E59679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6DCCD48-7496-2A76-E8B3-C41AAFD07E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AFA6D9D-9224-A743-031A-40EC4D589B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903767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B783F-0AE0-71A7-C06C-FD9D39A42D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C64D3CE-8B25-F7A4-DF74-456E737E97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7AC0E75-A651-90F1-0A90-48EF830BFB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C0EA579-F011-D12C-4FD6-5875CA243C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4098584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03986D-6C7F-9D91-225D-D41376A7F7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53624CE-427D-BB43-94F0-40224E56CB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07E84E4-6FBD-7B3F-073B-FDD99E183B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B289C70-6829-9411-9421-52F14E7522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0140575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44F40A-2C92-0A62-D250-E4661D8301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253516D-8290-AF65-4BD4-31BDC388C4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CA32F7F-2519-BB29-B5DF-5EFC9C6C0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A332123-D57C-3937-E497-4FBF1CE424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68796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4DF854-A439-F7EE-CB6C-8D6FBDCDC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B0B04B8-B9A5-F418-379D-EA1A958F6A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E2183D3-BA03-F637-A84A-39B05B6FBD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222395D-60EF-24D9-A0E8-ACD8E8DBF8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1757808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84B62E-AB6B-BBEC-F317-3F5D5B240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EA8DB14-DFC3-EAE1-67FD-5B351DCA03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9AEFEA2-E99A-B97F-B2B9-3B94DAF363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2DC5BA6-A0CE-B792-DB75-B3F8489538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364560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C598C8-D661-1897-EADE-31A24D864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78CC991-BBA5-6173-7706-2B533DBFFA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9AB51FB-6AFF-1F13-B02D-BA98CF4A01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5A168DD-591F-4EF6-575E-CF85E94EF7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44078384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508A6F-F81E-8860-D1EF-8A2E4497D8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B1A3BFC-94CB-E609-2701-A5FD8171E3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EEF47CB-B81B-AB1F-E0D8-38F88BBA00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B005ED7-5AFE-F8FE-DCC4-5E061514AC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2794915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2D1B9-3946-337E-7994-0661304D4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9ABD47B-FAC6-D079-E021-CA2BA613EE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0E6F7F3-79DF-0599-38F9-B42E6A7987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92B5693-752A-D35F-0B12-4EBDDB8323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346700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0E11DF-EBDF-7617-8EA3-1993352EF0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D3EBFC0-63C6-22D8-FBDA-7BE57EE376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32DD1DE-66ED-4F6D-BE0F-96E574C6C4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8524E3-ABEC-668D-2745-A18566D549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60857090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7A28A9-20A5-0CD9-E029-820E05A84D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35EE2DB-278F-6C34-CFE4-DD3AFA41B5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9CE695D-BADC-D589-FD70-C9F8304021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0105810-62BF-99CD-7286-A461C9E0D3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1096683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633FC-D0FE-7472-7CFC-533939F8EC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5830563-69D5-084D-01E4-59960B4388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B840C18-C39B-EEA2-191C-44FDCFEE41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09A209B-5C31-CB03-AD40-55B0E25EB5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0999892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4880A4-4EF3-8C80-2EBF-9748EC52C7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9A35556-A72E-DF59-BA5D-B3706373D2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542CC34-2EA2-2766-EF52-D629B06B73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501CAF6-7BEC-D7F7-8DDB-B9E9032064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95145075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02186-F686-EF25-1501-A451E76A9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99DECEB-AF6F-E1EF-3F09-0A8820FDA7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A9BD739-472B-80EC-817B-1CDC7998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A583DC9-ABBA-46B8-6962-A63F47CDF6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91228599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D6E114-2192-ADAF-27C0-898D90AB6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C2D4AF8-732D-870C-7A16-C34137A03E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88FEEC5-23E5-2179-C8FE-610D577503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DE27D42-B593-312B-F47F-9637E17D3D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08809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8A1EB7-0604-1D9F-E99B-A138D5CD0C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F78C875-8238-ECB4-22C9-5E67ABAD26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F46E992-99A0-D297-A6D2-9C934568FF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C6A778D-D7CC-4BE2-1D82-84E34755D1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3298934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AABF05-2FED-332C-497F-C5B95FEF94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0E180E6-457B-944D-6366-67530A6C71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5CE0D4D-B086-B840-7EF9-11A982540D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FFAEEEB-9732-371F-24A7-464648AE0B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38774500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C1A13A-161A-9AB7-B121-A5691177D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66010EE-DAE3-5BD4-727B-2BFAD6B55A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4A41BF2-A25E-6C41-6DEC-0CC04B5D6F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062E375-C7B6-FB83-E7C0-C0C8CDEE3B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06050438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5D5D48-4EE7-49F2-063C-72BEBDEF29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DB38BAF-6C25-1418-E04E-9ECFA76A1C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1633693-110B-E414-50DE-E4C2D15EFE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1B8D0DD-2B4B-09B0-D210-8E32216CC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70388957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845719-858E-0D59-7496-5C56DD9A9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B2F4F2F-DDD4-516B-AAB9-773238960A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87F260B-C987-D70E-403D-FE9D2452B1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2F1C9EF-7D3B-268E-C249-3CF3B50996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305055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F32EB1-E0B0-4C14-58F4-BA80E1FDD6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03BD20B-718F-6AB5-FF75-CF6C43ECF0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23DFA80-5C0E-4630-BE8C-5C85E19CB0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3C9415C-3975-B7A0-26C0-BAC0CB803D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798026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35B747-05DC-9F04-EC16-803C8793A5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A0ED89F-20A7-5E14-110B-A9951917CB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6596BBE-45FF-C7CD-0AA3-63B3B60B17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9DC5420-E080-5312-9225-7B920D3628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5414466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3C2BD-C133-F5E9-9F2D-F9557426D2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8597DFE-7619-ACA5-8B85-6935AB41A4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936C25B-C2A1-0166-CEC1-909B38A4F2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D445264-4189-DE5B-E3B1-50227B310F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80343259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675F9B-AD8E-A6AE-13FC-DC8F91415B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FE47A35-3BAB-D75E-AD23-5A4F5DC4EB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8AFC6EF-6593-FA0D-3573-26F185B7B4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6CC81CB-B6ED-624D-6353-08838953F4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18990478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4B17B9-5C4E-1624-BDDA-F83528C0E1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03EA6EB-8C9B-4FCA-E9AE-A7F7417D6D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D1CA490-CBB7-56CC-BA23-FDE6435F81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B4D5D10-4DB3-5153-D42F-E49B66B000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6848090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8D93A3-306B-1B1C-EEF6-C07272C57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FFD07E1-8EA0-F18B-BD3B-0E3F61B8D5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622859B-A266-40FD-6F9A-F24F8FAB87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D343AAC-ABA6-D838-3049-1F8A920217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45692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54741D-B9E0-8586-565A-99657E2988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90FAA17-E290-99A3-DD0F-0C39EFA241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E8FE701-9A5B-43C3-0F2E-35255CE432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0B43936-A837-5D4F-F6D7-7CA8E1FBC2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49140223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88924D-BEED-FA22-456F-118DD2905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CADE5E5-4203-2AED-358C-21BEEB9814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FEA6914-143E-F82B-46E4-76083FE4B7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75177EF-6AF4-AD1C-A27F-DED084F878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88160044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92450-5288-87F7-2989-45845585CD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6943481-6DB4-12BC-438A-F29CC22708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64756069-1B11-0ED1-46CF-269D4A53A1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200FAC2-AF2F-BB5C-40DF-BA2CC02DCE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00323132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3441E-36D8-9B26-7570-3B269C6C4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70CF42F-DFF5-462F-0C6E-B684196C77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3CC8A35-BC60-D279-0636-636889B723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C38483F-3D00-76DF-C7F5-03A64A06D7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10119583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8BE538-A33E-83A4-B207-B18A07D87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5EBD7F7-4AEF-ED66-146F-006B9F5A4B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AA3BD17-546E-1017-9EA1-8771C6D68B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D074E3-EEE9-8D2B-BBBD-73A384805B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9268190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D476BA-9383-75D0-553D-22022862AC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60397E0-2D78-B008-3097-DEA9B496BD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413DF89-DD8B-9230-A627-250AD179AF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43A68D2-B376-B41F-FED8-B45D9DD044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59466573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C6F1C-A057-2BF6-D990-A519918D88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5F1D366-037C-9F34-BC9F-278CDC24FE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5F04B19-BC88-B18C-8361-67314D8487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1DA8933-957D-8843-2A90-04D5FCCE72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98852732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2C1268-F35E-6BD7-5DA7-0C8632E945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A548CC7-7058-8520-0C13-452D1017B9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6FF80E5-8835-6B40-ED52-95B9B72920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3B247A4-C1AF-1815-B72E-8A48BF1E16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19813910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363E55-DB8F-12EF-ECD9-46784EABC2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1EC87E9-65AB-1896-5FCE-26C8C5FEEE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3FFE663-E9F6-6397-360E-4C860AD0AB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7C31954-1CD8-AE9A-DA8C-1859E187E6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358518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B09F5B-774E-DE45-41F6-04BE118B0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D3C9C90-0527-D222-2A8F-7F1469049E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CF4057A-B12B-678D-8C69-B9C18AAE44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D6E7921-42A4-5527-DF2E-3E328221BD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7639418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BA0D78-A493-C9B8-9635-8AAEED08D8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B746DC3-BD2B-E465-BE1B-E1DE13B3A8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8AF0757-83A9-A117-FA52-5EA7981593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B6F1375-72DF-F6D0-F761-AEB4EC42DE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794379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62DD8-B2A7-2696-1FF8-40DFD5523F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A45AF8E-494C-AE7D-EBF5-C6E785C3C9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A537B01-5212-1E10-0BA1-B28CFB7F05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2EF6C72-B0BC-0DE4-5300-68CDD72FB3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33300529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A6BA06-2A80-3CD4-C5D7-C487BF599D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B97BD95-A501-3050-A226-469B053FEE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3BBCB85-C19D-3B8F-1180-8D691DC7D3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765467A-5C5F-0910-0022-3BD035BFE7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21501715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4B4AF0-18DF-ED6F-40C6-A621CF268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E0D7F6F-9955-AB02-2EC0-FFFCB6B65D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9BCE7FD-B7E7-086C-7E6C-EF0865EFF2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57BC79E-75FD-122F-0493-46C0325EE5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4613178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E13F66-0A8F-14B0-1EEC-7A4F5ECBBB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C08C4D7-A84D-A2AC-2927-A858C00666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1CE69D6-FC5C-8442-46BB-44217ABAB3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41B24C-95B3-BBAE-C845-15BE116179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249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71921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608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9185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1583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78183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2776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7299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0779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79328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99548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36367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6210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Rvz4Cq55990" TargetMode="Externa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9.png"/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0.png"/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2.png"/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4.png"/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5.png"/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6.png"/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7.png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png"/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2.png"/><Relationship Id="rId4" Type="http://schemas.openxmlformats.org/officeDocument/2006/relationships/image" Target="../media/image221.png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3.png"/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4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5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7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8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0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1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4.png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5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7.png"/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8.png"/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0.png"/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hAfQa2oddA0" TargetMode="External"/><Relationship Id="rId2" Type="http://schemas.openxmlformats.org/officeDocument/2006/relationships/hyperlink" Target="https://youtu.be/o4dCzqy1JrY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youtu.be/VQpg5jpfXPg" TargetMode="Externa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2.png"/><Relationship Id="rId18" Type="http://schemas.openxmlformats.org/officeDocument/2006/relationships/customXml" Target="../ink/ink8.xml"/><Relationship Id="rId26" Type="http://schemas.openxmlformats.org/officeDocument/2006/relationships/customXml" Target="../ink/ink12.xml"/><Relationship Id="rId3" Type="http://schemas.openxmlformats.org/officeDocument/2006/relationships/image" Target="../media/image87.png"/><Relationship Id="rId21" Type="http://schemas.openxmlformats.org/officeDocument/2006/relationships/image" Target="../media/image96.png"/><Relationship Id="rId7" Type="http://schemas.openxmlformats.org/officeDocument/2006/relationships/image" Target="../media/image89.png"/><Relationship Id="rId12" Type="http://schemas.openxmlformats.org/officeDocument/2006/relationships/customXml" Target="../ink/ink5.xml"/><Relationship Id="rId17" Type="http://schemas.openxmlformats.org/officeDocument/2006/relationships/image" Target="../media/image94.png"/><Relationship Id="rId25" Type="http://schemas.openxmlformats.org/officeDocument/2006/relationships/image" Target="../media/image98.png"/><Relationship Id="rId33" Type="http://schemas.openxmlformats.org/officeDocument/2006/relationships/image" Target="../media/image102.png"/><Relationship Id="rId2" Type="http://schemas.openxmlformats.org/officeDocument/2006/relationships/notesSlide" Target="../notesSlides/notesSlide74.xml"/><Relationship Id="rId16" Type="http://schemas.openxmlformats.org/officeDocument/2006/relationships/customXml" Target="../ink/ink7.xml"/><Relationship Id="rId20" Type="http://schemas.openxmlformats.org/officeDocument/2006/relationships/customXml" Target="../ink/ink9.xml"/><Relationship Id="rId29" Type="http://schemas.openxmlformats.org/officeDocument/2006/relationships/image" Target="../media/image100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2.xml"/><Relationship Id="rId11" Type="http://schemas.openxmlformats.org/officeDocument/2006/relationships/image" Target="../media/image91.png"/><Relationship Id="rId24" Type="http://schemas.openxmlformats.org/officeDocument/2006/relationships/customXml" Target="../ink/ink11.xml"/><Relationship Id="rId32" Type="http://schemas.openxmlformats.org/officeDocument/2006/relationships/customXml" Target="../ink/ink15.xml"/><Relationship Id="rId5" Type="http://schemas.openxmlformats.org/officeDocument/2006/relationships/image" Target="../media/image88.png"/><Relationship Id="rId15" Type="http://schemas.openxmlformats.org/officeDocument/2006/relationships/image" Target="../media/image93.png"/><Relationship Id="rId23" Type="http://schemas.openxmlformats.org/officeDocument/2006/relationships/image" Target="../media/image97.png"/><Relationship Id="rId28" Type="http://schemas.openxmlformats.org/officeDocument/2006/relationships/customXml" Target="../ink/ink13.xml"/><Relationship Id="rId10" Type="http://schemas.openxmlformats.org/officeDocument/2006/relationships/customXml" Target="../ink/ink4.xml"/><Relationship Id="rId19" Type="http://schemas.openxmlformats.org/officeDocument/2006/relationships/image" Target="../media/image95.png"/><Relationship Id="rId31" Type="http://schemas.openxmlformats.org/officeDocument/2006/relationships/image" Target="../media/image101.png"/><Relationship Id="rId4" Type="http://schemas.openxmlformats.org/officeDocument/2006/relationships/customXml" Target="../ink/ink1.xml"/><Relationship Id="rId9" Type="http://schemas.openxmlformats.org/officeDocument/2006/relationships/image" Target="../media/image90.png"/><Relationship Id="rId14" Type="http://schemas.openxmlformats.org/officeDocument/2006/relationships/customXml" Target="../ink/ink6.xml"/><Relationship Id="rId22" Type="http://schemas.openxmlformats.org/officeDocument/2006/relationships/customXml" Target="../ink/ink10.xml"/><Relationship Id="rId27" Type="http://schemas.openxmlformats.org/officeDocument/2006/relationships/image" Target="../media/image99.png"/><Relationship Id="rId30" Type="http://schemas.openxmlformats.org/officeDocument/2006/relationships/customXml" Target="../ink/ink14.xml"/><Relationship Id="rId8" Type="http://schemas.openxmlformats.org/officeDocument/2006/relationships/customXml" Target="../ink/ink3.xml"/></Relationships>
</file>

<file path=ppt/slides/_rels/slide87.xml.rels><?xml version="1.0" encoding="UTF-8" standalone="yes"?>
<Relationships xmlns="http://schemas.openxmlformats.org/package/2006/relationships"><Relationship Id="rId117" Type="http://schemas.openxmlformats.org/officeDocument/2006/relationships/customXml" Target="../ink/ink73.xml"/><Relationship Id="rId21" Type="http://schemas.openxmlformats.org/officeDocument/2006/relationships/customXml" Target="../ink/ink25.xml"/><Relationship Id="rId42" Type="http://schemas.openxmlformats.org/officeDocument/2006/relationships/image" Target="../media/image123.png"/><Relationship Id="rId63" Type="http://schemas.openxmlformats.org/officeDocument/2006/relationships/customXml" Target="../ink/ink46.xml"/><Relationship Id="rId84" Type="http://schemas.openxmlformats.org/officeDocument/2006/relationships/image" Target="../media/image144.png"/><Relationship Id="rId138" Type="http://schemas.openxmlformats.org/officeDocument/2006/relationships/image" Target="../media/image171.png"/><Relationship Id="rId159" Type="http://schemas.openxmlformats.org/officeDocument/2006/relationships/customXml" Target="../ink/ink94.xml"/><Relationship Id="rId170" Type="http://schemas.openxmlformats.org/officeDocument/2006/relationships/image" Target="../media/image187.png"/><Relationship Id="rId107" Type="http://schemas.openxmlformats.org/officeDocument/2006/relationships/customXml" Target="../ink/ink68.xml"/><Relationship Id="rId11" Type="http://schemas.openxmlformats.org/officeDocument/2006/relationships/customXml" Target="../ink/ink20.xml"/><Relationship Id="rId32" Type="http://schemas.openxmlformats.org/officeDocument/2006/relationships/image" Target="../media/image118.png"/><Relationship Id="rId53" Type="http://schemas.openxmlformats.org/officeDocument/2006/relationships/customXml" Target="../ink/ink41.xml"/><Relationship Id="rId74" Type="http://schemas.openxmlformats.org/officeDocument/2006/relationships/image" Target="../media/image139.png"/><Relationship Id="rId128" Type="http://schemas.openxmlformats.org/officeDocument/2006/relationships/image" Target="../media/image166.png"/><Relationship Id="rId149" Type="http://schemas.openxmlformats.org/officeDocument/2006/relationships/customXml" Target="../ink/ink89.xml"/><Relationship Id="rId5" Type="http://schemas.openxmlformats.org/officeDocument/2006/relationships/customXml" Target="../ink/ink17.xml"/><Relationship Id="rId95" Type="http://schemas.openxmlformats.org/officeDocument/2006/relationships/customXml" Target="../ink/ink62.xml"/><Relationship Id="rId160" Type="http://schemas.openxmlformats.org/officeDocument/2006/relationships/image" Target="../media/image182.png"/><Relationship Id="rId22" Type="http://schemas.openxmlformats.org/officeDocument/2006/relationships/image" Target="../media/image113.png"/><Relationship Id="rId43" Type="http://schemas.openxmlformats.org/officeDocument/2006/relationships/customXml" Target="../ink/ink36.xml"/><Relationship Id="rId64" Type="http://schemas.openxmlformats.org/officeDocument/2006/relationships/image" Target="../media/image134.png"/><Relationship Id="rId118" Type="http://schemas.openxmlformats.org/officeDocument/2006/relationships/image" Target="../media/image161.png"/><Relationship Id="rId139" Type="http://schemas.openxmlformats.org/officeDocument/2006/relationships/customXml" Target="../ink/ink84.xml"/><Relationship Id="rId85" Type="http://schemas.openxmlformats.org/officeDocument/2006/relationships/customXml" Target="../ink/ink57.xml"/><Relationship Id="rId150" Type="http://schemas.openxmlformats.org/officeDocument/2006/relationships/image" Target="../media/image177.png"/><Relationship Id="rId171" Type="http://schemas.openxmlformats.org/officeDocument/2006/relationships/customXml" Target="../ink/ink100.xml"/><Relationship Id="rId12" Type="http://schemas.openxmlformats.org/officeDocument/2006/relationships/image" Target="../media/image108.png"/><Relationship Id="rId33" Type="http://schemas.openxmlformats.org/officeDocument/2006/relationships/customXml" Target="../ink/ink31.xml"/><Relationship Id="rId108" Type="http://schemas.openxmlformats.org/officeDocument/2006/relationships/image" Target="../media/image156.png"/><Relationship Id="rId129" Type="http://schemas.openxmlformats.org/officeDocument/2006/relationships/customXml" Target="../ink/ink79.xml"/><Relationship Id="rId54" Type="http://schemas.openxmlformats.org/officeDocument/2006/relationships/image" Target="../media/image129.png"/><Relationship Id="rId75" Type="http://schemas.openxmlformats.org/officeDocument/2006/relationships/customXml" Target="../ink/ink52.xml"/><Relationship Id="rId96" Type="http://schemas.openxmlformats.org/officeDocument/2006/relationships/image" Target="../media/image150.png"/><Relationship Id="rId140" Type="http://schemas.openxmlformats.org/officeDocument/2006/relationships/image" Target="../media/image172.png"/><Relationship Id="rId161" Type="http://schemas.openxmlformats.org/officeDocument/2006/relationships/customXml" Target="../ink/ink95.xml"/><Relationship Id="rId6" Type="http://schemas.openxmlformats.org/officeDocument/2006/relationships/image" Target="../media/image105.png"/><Relationship Id="rId23" Type="http://schemas.openxmlformats.org/officeDocument/2006/relationships/customXml" Target="../ink/ink26.xml"/><Relationship Id="rId28" Type="http://schemas.openxmlformats.org/officeDocument/2006/relationships/image" Target="../media/image116.png"/><Relationship Id="rId49" Type="http://schemas.openxmlformats.org/officeDocument/2006/relationships/customXml" Target="../ink/ink39.xml"/><Relationship Id="rId114" Type="http://schemas.openxmlformats.org/officeDocument/2006/relationships/image" Target="../media/image159.png"/><Relationship Id="rId119" Type="http://schemas.openxmlformats.org/officeDocument/2006/relationships/customXml" Target="../ink/ink74.xml"/><Relationship Id="rId44" Type="http://schemas.openxmlformats.org/officeDocument/2006/relationships/image" Target="../media/image124.png"/><Relationship Id="rId60" Type="http://schemas.openxmlformats.org/officeDocument/2006/relationships/image" Target="../media/image132.png"/><Relationship Id="rId65" Type="http://schemas.openxmlformats.org/officeDocument/2006/relationships/customXml" Target="../ink/ink47.xml"/><Relationship Id="rId81" Type="http://schemas.openxmlformats.org/officeDocument/2006/relationships/customXml" Target="../ink/ink55.xml"/><Relationship Id="rId86" Type="http://schemas.openxmlformats.org/officeDocument/2006/relationships/image" Target="../media/image145.png"/><Relationship Id="rId130" Type="http://schemas.openxmlformats.org/officeDocument/2006/relationships/image" Target="../media/image167.png"/><Relationship Id="rId135" Type="http://schemas.openxmlformats.org/officeDocument/2006/relationships/customXml" Target="../ink/ink82.xml"/><Relationship Id="rId151" Type="http://schemas.openxmlformats.org/officeDocument/2006/relationships/customXml" Target="../ink/ink90.xml"/><Relationship Id="rId156" Type="http://schemas.openxmlformats.org/officeDocument/2006/relationships/image" Target="../media/image180.png"/><Relationship Id="rId177" Type="http://schemas.openxmlformats.org/officeDocument/2006/relationships/customXml" Target="../ink/ink103.xml"/><Relationship Id="rId172" Type="http://schemas.openxmlformats.org/officeDocument/2006/relationships/image" Target="../media/image188.png"/><Relationship Id="rId13" Type="http://schemas.openxmlformats.org/officeDocument/2006/relationships/customXml" Target="../ink/ink21.xml"/><Relationship Id="rId18" Type="http://schemas.openxmlformats.org/officeDocument/2006/relationships/image" Target="../media/image111.png"/><Relationship Id="rId39" Type="http://schemas.openxmlformats.org/officeDocument/2006/relationships/customXml" Target="../ink/ink34.xml"/><Relationship Id="rId109" Type="http://schemas.openxmlformats.org/officeDocument/2006/relationships/customXml" Target="../ink/ink69.xml"/><Relationship Id="rId34" Type="http://schemas.openxmlformats.org/officeDocument/2006/relationships/image" Target="../media/image119.png"/><Relationship Id="rId50" Type="http://schemas.openxmlformats.org/officeDocument/2006/relationships/image" Target="../media/image127.png"/><Relationship Id="rId55" Type="http://schemas.openxmlformats.org/officeDocument/2006/relationships/customXml" Target="../ink/ink42.xml"/><Relationship Id="rId76" Type="http://schemas.openxmlformats.org/officeDocument/2006/relationships/image" Target="../media/image140.png"/><Relationship Id="rId97" Type="http://schemas.openxmlformats.org/officeDocument/2006/relationships/customXml" Target="../ink/ink63.xml"/><Relationship Id="rId104" Type="http://schemas.openxmlformats.org/officeDocument/2006/relationships/image" Target="../media/image154.png"/><Relationship Id="rId120" Type="http://schemas.openxmlformats.org/officeDocument/2006/relationships/image" Target="../media/image162.png"/><Relationship Id="rId125" Type="http://schemas.openxmlformats.org/officeDocument/2006/relationships/customXml" Target="../ink/ink77.xml"/><Relationship Id="rId141" Type="http://schemas.openxmlformats.org/officeDocument/2006/relationships/customXml" Target="../ink/ink85.xml"/><Relationship Id="rId146" Type="http://schemas.openxmlformats.org/officeDocument/2006/relationships/image" Target="../media/image175.png"/><Relationship Id="rId167" Type="http://schemas.openxmlformats.org/officeDocument/2006/relationships/customXml" Target="../ink/ink98.xml"/><Relationship Id="rId7" Type="http://schemas.openxmlformats.org/officeDocument/2006/relationships/customXml" Target="../ink/ink18.xml"/><Relationship Id="rId71" Type="http://schemas.openxmlformats.org/officeDocument/2006/relationships/customXml" Target="../ink/ink50.xml"/><Relationship Id="rId92" Type="http://schemas.openxmlformats.org/officeDocument/2006/relationships/image" Target="../media/image148.png"/><Relationship Id="rId162" Type="http://schemas.openxmlformats.org/officeDocument/2006/relationships/image" Target="../media/image183.png"/><Relationship Id="rId2" Type="http://schemas.openxmlformats.org/officeDocument/2006/relationships/image" Target="../media/image103.png"/><Relationship Id="rId29" Type="http://schemas.openxmlformats.org/officeDocument/2006/relationships/customXml" Target="../ink/ink29.xml"/><Relationship Id="rId24" Type="http://schemas.openxmlformats.org/officeDocument/2006/relationships/image" Target="../media/image114.png"/><Relationship Id="rId40" Type="http://schemas.openxmlformats.org/officeDocument/2006/relationships/image" Target="../media/image122.png"/><Relationship Id="rId45" Type="http://schemas.openxmlformats.org/officeDocument/2006/relationships/customXml" Target="../ink/ink37.xml"/><Relationship Id="rId66" Type="http://schemas.openxmlformats.org/officeDocument/2006/relationships/image" Target="../media/image135.png"/><Relationship Id="rId87" Type="http://schemas.openxmlformats.org/officeDocument/2006/relationships/customXml" Target="../ink/ink58.xml"/><Relationship Id="rId110" Type="http://schemas.openxmlformats.org/officeDocument/2006/relationships/image" Target="../media/image157.png"/><Relationship Id="rId115" Type="http://schemas.openxmlformats.org/officeDocument/2006/relationships/customXml" Target="../ink/ink72.xml"/><Relationship Id="rId131" Type="http://schemas.openxmlformats.org/officeDocument/2006/relationships/customXml" Target="../ink/ink80.xml"/><Relationship Id="rId136" Type="http://schemas.openxmlformats.org/officeDocument/2006/relationships/image" Target="../media/image170.png"/><Relationship Id="rId157" Type="http://schemas.openxmlformats.org/officeDocument/2006/relationships/customXml" Target="../ink/ink93.xml"/><Relationship Id="rId178" Type="http://schemas.openxmlformats.org/officeDocument/2006/relationships/image" Target="../media/image191.png"/><Relationship Id="rId61" Type="http://schemas.openxmlformats.org/officeDocument/2006/relationships/customXml" Target="../ink/ink45.xml"/><Relationship Id="rId82" Type="http://schemas.openxmlformats.org/officeDocument/2006/relationships/image" Target="../media/image143.png"/><Relationship Id="rId152" Type="http://schemas.openxmlformats.org/officeDocument/2006/relationships/image" Target="../media/image178.png"/><Relationship Id="rId173" Type="http://schemas.openxmlformats.org/officeDocument/2006/relationships/customXml" Target="../ink/ink101.xml"/><Relationship Id="rId19" Type="http://schemas.openxmlformats.org/officeDocument/2006/relationships/customXml" Target="../ink/ink24.xml"/><Relationship Id="rId14" Type="http://schemas.openxmlformats.org/officeDocument/2006/relationships/image" Target="../media/image109.png"/><Relationship Id="rId30" Type="http://schemas.openxmlformats.org/officeDocument/2006/relationships/image" Target="../media/image117.png"/><Relationship Id="rId35" Type="http://schemas.openxmlformats.org/officeDocument/2006/relationships/customXml" Target="../ink/ink32.xml"/><Relationship Id="rId56" Type="http://schemas.openxmlformats.org/officeDocument/2006/relationships/image" Target="../media/image130.png"/><Relationship Id="rId77" Type="http://schemas.openxmlformats.org/officeDocument/2006/relationships/customXml" Target="../ink/ink53.xml"/><Relationship Id="rId100" Type="http://schemas.openxmlformats.org/officeDocument/2006/relationships/image" Target="../media/image152.png"/><Relationship Id="rId105" Type="http://schemas.openxmlformats.org/officeDocument/2006/relationships/customXml" Target="../ink/ink67.xml"/><Relationship Id="rId126" Type="http://schemas.openxmlformats.org/officeDocument/2006/relationships/image" Target="../media/image165.png"/><Relationship Id="rId147" Type="http://schemas.openxmlformats.org/officeDocument/2006/relationships/customXml" Target="../ink/ink88.xml"/><Relationship Id="rId168" Type="http://schemas.openxmlformats.org/officeDocument/2006/relationships/image" Target="../media/image186.png"/><Relationship Id="rId8" Type="http://schemas.openxmlformats.org/officeDocument/2006/relationships/image" Target="../media/image106.png"/><Relationship Id="rId51" Type="http://schemas.openxmlformats.org/officeDocument/2006/relationships/customXml" Target="../ink/ink40.xml"/><Relationship Id="rId72" Type="http://schemas.openxmlformats.org/officeDocument/2006/relationships/image" Target="../media/image138.png"/><Relationship Id="rId93" Type="http://schemas.openxmlformats.org/officeDocument/2006/relationships/customXml" Target="../ink/ink61.xml"/><Relationship Id="rId98" Type="http://schemas.openxmlformats.org/officeDocument/2006/relationships/image" Target="../media/image151.png"/><Relationship Id="rId121" Type="http://schemas.openxmlformats.org/officeDocument/2006/relationships/customXml" Target="../ink/ink75.xml"/><Relationship Id="rId142" Type="http://schemas.openxmlformats.org/officeDocument/2006/relationships/image" Target="../media/image173.png"/><Relationship Id="rId163" Type="http://schemas.openxmlformats.org/officeDocument/2006/relationships/customXml" Target="../ink/ink96.xml"/><Relationship Id="rId3" Type="http://schemas.openxmlformats.org/officeDocument/2006/relationships/customXml" Target="../ink/ink16.xml"/><Relationship Id="rId25" Type="http://schemas.openxmlformats.org/officeDocument/2006/relationships/customXml" Target="../ink/ink27.xml"/><Relationship Id="rId46" Type="http://schemas.openxmlformats.org/officeDocument/2006/relationships/image" Target="../media/image125.png"/><Relationship Id="rId67" Type="http://schemas.openxmlformats.org/officeDocument/2006/relationships/customXml" Target="../ink/ink48.xml"/><Relationship Id="rId116" Type="http://schemas.openxmlformats.org/officeDocument/2006/relationships/image" Target="../media/image160.png"/><Relationship Id="rId137" Type="http://schemas.openxmlformats.org/officeDocument/2006/relationships/customXml" Target="../ink/ink83.xml"/><Relationship Id="rId158" Type="http://schemas.openxmlformats.org/officeDocument/2006/relationships/image" Target="../media/image181.png"/><Relationship Id="rId20" Type="http://schemas.openxmlformats.org/officeDocument/2006/relationships/image" Target="../media/image112.png"/><Relationship Id="rId41" Type="http://schemas.openxmlformats.org/officeDocument/2006/relationships/customXml" Target="../ink/ink35.xml"/><Relationship Id="rId62" Type="http://schemas.openxmlformats.org/officeDocument/2006/relationships/image" Target="../media/image133.png"/><Relationship Id="rId83" Type="http://schemas.openxmlformats.org/officeDocument/2006/relationships/customXml" Target="../ink/ink56.xml"/><Relationship Id="rId88" Type="http://schemas.openxmlformats.org/officeDocument/2006/relationships/image" Target="../media/image146.png"/><Relationship Id="rId111" Type="http://schemas.openxmlformats.org/officeDocument/2006/relationships/customXml" Target="../ink/ink70.xml"/><Relationship Id="rId132" Type="http://schemas.openxmlformats.org/officeDocument/2006/relationships/image" Target="../media/image168.png"/><Relationship Id="rId153" Type="http://schemas.openxmlformats.org/officeDocument/2006/relationships/customXml" Target="../ink/ink91.xml"/><Relationship Id="rId174" Type="http://schemas.openxmlformats.org/officeDocument/2006/relationships/image" Target="../media/image189.png"/><Relationship Id="rId15" Type="http://schemas.openxmlformats.org/officeDocument/2006/relationships/customXml" Target="../ink/ink22.xml"/><Relationship Id="rId36" Type="http://schemas.openxmlformats.org/officeDocument/2006/relationships/image" Target="../media/image120.png"/><Relationship Id="rId57" Type="http://schemas.openxmlformats.org/officeDocument/2006/relationships/customXml" Target="../ink/ink43.xml"/><Relationship Id="rId106" Type="http://schemas.openxmlformats.org/officeDocument/2006/relationships/image" Target="../media/image155.png"/><Relationship Id="rId127" Type="http://schemas.openxmlformats.org/officeDocument/2006/relationships/customXml" Target="../ink/ink78.xml"/><Relationship Id="rId10" Type="http://schemas.openxmlformats.org/officeDocument/2006/relationships/image" Target="../media/image107.png"/><Relationship Id="rId31" Type="http://schemas.openxmlformats.org/officeDocument/2006/relationships/customXml" Target="../ink/ink30.xml"/><Relationship Id="rId52" Type="http://schemas.openxmlformats.org/officeDocument/2006/relationships/image" Target="../media/image128.png"/><Relationship Id="rId73" Type="http://schemas.openxmlformats.org/officeDocument/2006/relationships/customXml" Target="../ink/ink51.xml"/><Relationship Id="rId78" Type="http://schemas.openxmlformats.org/officeDocument/2006/relationships/image" Target="../media/image141.png"/><Relationship Id="rId94" Type="http://schemas.openxmlformats.org/officeDocument/2006/relationships/image" Target="../media/image149.png"/><Relationship Id="rId99" Type="http://schemas.openxmlformats.org/officeDocument/2006/relationships/customXml" Target="../ink/ink64.xml"/><Relationship Id="rId101" Type="http://schemas.openxmlformats.org/officeDocument/2006/relationships/customXml" Target="../ink/ink65.xml"/><Relationship Id="rId122" Type="http://schemas.openxmlformats.org/officeDocument/2006/relationships/image" Target="../media/image163.png"/><Relationship Id="rId143" Type="http://schemas.openxmlformats.org/officeDocument/2006/relationships/customXml" Target="../ink/ink86.xml"/><Relationship Id="rId148" Type="http://schemas.openxmlformats.org/officeDocument/2006/relationships/image" Target="../media/image176.png"/><Relationship Id="rId164" Type="http://schemas.openxmlformats.org/officeDocument/2006/relationships/image" Target="../media/image184.png"/><Relationship Id="rId169" Type="http://schemas.openxmlformats.org/officeDocument/2006/relationships/customXml" Target="../ink/ink99.xml"/><Relationship Id="rId4" Type="http://schemas.openxmlformats.org/officeDocument/2006/relationships/image" Target="../media/image104.png"/><Relationship Id="rId9" Type="http://schemas.openxmlformats.org/officeDocument/2006/relationships/customXml" Target="../ink/ink19.xml"/><Relationship Id="rId26" Type="http://schemas.openxmlformats.org/officeDocument/2006/relationships/image" Target="../media/image115.png"/><Relationship Id="rId47" Type="http://schemas.openxmlformats.org/officeDocument/2006/relationships/customXml" Target="../ink/ink38.xml"/><Relationship Id="rId68" Type="http://schemas.openxmlformats.org/officeDocument/2006/relationships/image" Target="../media/image136.png"/><Relationship Id="rId89" Type="http://schemas.openxmlformats.org/officeDocument/2006/relationships/customXml" Target="../ink/ink59.xml"/><Relationship Id="rId112" Type="http://schemas.openxmlformats.org/officeDocument/2006/relationships/image" Target="../media/image158.png"/><Relationship Id="rId133" Type="http://schemas.openxmlformats.org/officeDocument/2006/relationships/customXml" Target="../ink/ink81.xml"/><Relationship Id="rId154" Type="http://schemas.openxmlformats.org/officeDocument/2006/relationships/image" Target="../media/image179.png"/><Relationship Id="rId175" Type="http://schemas.openxmlformats.org/officeDocument/2006/relationships/customXml" Target="../ink/ink102.xml"/><Relationship Id="rId16" Type="http://schemas.openxmlformats.org/officeDocument/2006/relationships/image" Target="../media/image110.png"/><Relationship Id="rId37" Type="http://schemas.openxmlformats.org/officeDocument/2006/relationships/customXml" Target="../ink/ink33.xml"/><Relationship Id="rId58" Type="http://schemas.openxmlformats.org/officeDocument/2006/relationships/image" Target="../media/image131.png"/><Relationship Id="rId79" Type="http://schemas.openxmlformats.org/officeDocument/2006/relationships/customXml" Target="../ink/ink54.xml"/><Relationship Id="rId102" Type="http://schemas.openxmlformats.org/officeDocument/2006/relationships/image" Target="../media/image153.png"/><Relationship Id="rId123" Type="http://schemas.openxmlformats.org/officeDocument/2006/relationships/customXml" Target="../ink/ink76.xml"/><Relationship Id="rId144" Type="http://schemas.openxmlformats.org/officeDocument/2006/relationships/image" Target="../media/image174.png"/><Relationship Id="rId90" Type="http://schemas.openxmlformats.org/officeDocument/2006/relationships/image" Target="../media/image147.png"/><Relationship Id="rId165" Type="http://schemas.openxmlformats.org/officeDocument/2006/relationships/customXml" Target="../ink/ink97.xml"/><Relationship Id="rId27" Type="http://schemas.openxmlformats.org/officeDocument/2006/relationships/customXml" Target="../ink/ink28.xml"/><Relationship Id="rId48" Type="http://schemas.openxmlformats.org/officeDocument/2006/relationships/image" Target="../media/image126.png"/><Relationship Id="rId69" Type="http://schemas.openxmlformats.org/officeDocument/2006/relationships/customXml" Target="../ink/ink49.xml"/><Relationship Id="rId113" Type="http://schemas.openxmlformats.org/officeDocument/2006/relationships/customXml" Target="../ink/ink71.xml"/><Relationship Id="rId134" Type="http://schemas.openxmlformats.org/officeDocument/2006/relationships/image" Target="../media/image169.png"/><Relationship Id="rId80" Type="http://schemas.openxmlformats.org/officeDocument/2006/relationships/image" Target="../media/image142.png"/><Relationship Id="rId155" Type="http://schemas.openxmlformats.org/officeDocument/2006/relationships/customXml" Target="../ink/ink92.xml"/><Relationship Id="rId176" Type="http://schemas.openxmlformats.org/officeDocument/2006/relationships/image" Target="../media/image190.png"/><Relationship Id="rId17" Type="http://schemas.openxmlformats.org/officeDocument/2006/relationships/customXml" Target="../ink/ink23.xml"/><Relationship Id="rId38" Type="http://schemas.openxmlformats.org/officeDocument/2006/relationships/image" Target="../media/image121.png"/><Relationship Id="rId59" Type="http://schemas.openxmlformats.org/officeDocument/2006/relationships/customXml" Target="../ink/ink44.xml"/><Relationship Id="rId103" Type="http://schemas.openxmlformats.org/officeDocument/2006/relationships/customXml" Target="../ink/ink66.xml"/><Relationship Id="rId124" Type="http://schemas.openxmlformats.org/officeDocument/2006/relationships/image" Target="../media/image164.png"/><Relationship Id="rId70" Type="http://schemas.openxmlformats.org/officeDocument/2006/relationships/image" Target="../media/image137.png"/><Relationship Id="rId91" Type="http://schemas.openxmlformats.org/officeDocument/2006/relationships/customXml" Target="../ink/ink60.xml"/><Relationship Id="rId145" Type="http://schemas.openxmlformats.org/officeDocument/2006/relationships/customXml" Target="../ink/ink87.xml"/><Relationship Id="rId166" Type="http://schemas.openxmlformats.org/officeDocument/2006/relationships/image" Target="../media/image185.png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4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7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5.png"/><Relationship Id="rId3" Type="http://schemas.openxmlformats.org/officeDocument/2006/relationships/customXml" Target="../ink/ink104.xml"/><Relationship Id="rId7" Type="http://schemas.openxmlformats.org/officeDocument/2006/relationships/customXml" Target="../ink/ink106.xml"/><Relationship Id="rId12" Type="http://schemas.openxmlformats.org/officeDocument/2006/relationships/image" Target="../media/image207.png"/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4.png"/><Relationship Id="rId11" Type="http://schemas.openxmlformats.org/officeDocument/2006/relationships/customXml" Target="../ink/ink108.xml"/><Relationship Id="rId5" Type="http://schemas.openxmlformats.org/officeDocument/2006/relationships/customXml" Target="../ink/ink105.xml"/><Relationship Id="rId10" Type="http://schemas.openxmlformats.org/officeDocument/2006/relationships/image" Target="../media/image206.png"/><Relationship Id="rId4" Type="http://schemas.openxmlformats.org/officeDocument/2006/relationships/image" Target="../media/image203.png"/><Relationship Id="rId9" Type="http://schemas.openxmlformats.org/officeDocument/2006/relationships/customXml" Target="../ink/ink107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FDB2C99-50C0-1CBF-A5F3-C9C85D720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ttps://youtu.be/AXB6r-hjsig</a:t>
            </a:r>
            <a:endParaRPr lang="ko-KR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0D02589-7FB2-F177-8D48-3E9BD28C6C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hlinkClick r:id="rId2"/>
              </a:rPr>
              <a:t>https://youtu.be/Rvz4Cq55990</a:t>
            </a:r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83417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F10BF-DE96-8A87-C040-57A921668A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617719B-D809-82C2-8CA1-68FBAADA6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15C5545-29A8-54A6-30AA-562769AE90D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3E1DFB6-D618-703C-BE5F-9437105EBB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7125" y="1185549"/>
            <a:ext cx="9497750" cy="448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198574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8E1EA0-F166-67DA-C8EF-A3E8058D8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C61E60A7-6D0B-EC50-18F0-21C01D3325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465" y="780680"/>
            <a:ext cx="11965070" cy="5296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133395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31242662-6750-A7B4-B5A3-CC91376BFE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44" y="552048"/>
            <a:ext cx="12088912" cy="5753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17406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94D7E5-6024-56B5-5E3E-125EA66C25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B9751B2E-1338-AD46-5510-46FCBBDD29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07" y="652075"/>
            <a:ext cx="12079386" cy="555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828450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58F17C-C30F-D7D6-5C2A-1FA4CBC0E1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11D85046-2D21-60C8-6A43-B04D694AC1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" y="761628"/>
            <a:ext cx="12184175" cy="533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631988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D9930A-5BB4-027E-C280-C40810477C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0EEF3B36-ACB4-5FB8-07C1-F432459B3A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96744"/>
            <a:ext cx="12192000" cy="526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28377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ADD20F-B2DC-FD9D-011F-F48DDEF60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D5A99887-F780-035A-C2E5-DF373496F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570" y="675891"/>
            <a:ext cx="11888859" cy="550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605301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F73E62-0E23-D9F5-7FB4-B9B0632287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826F0453-A4CE-312B-F1A4-7561E0975B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02" y="885470"/>
            <a:ext cx="11974596" cy="5087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526268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3BF0C0-1888-AD65-927C-96CD112930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54D15216-7ECB-8D76-02DA-6CA5922687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39" y="728285"/>
            <a:ext cx="11984122" cy="540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971826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43DE9D-AC1B-790D-E67B-B8FDFCE901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35E983B1-0AAA-F464-C75D-AF26D1CC4D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70558"/>
            <a:ext cx="12192000" cy="5316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081939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105FF8-D839-21E0-8C37-B7A80E17EE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A162B6CE-3EE7-1598-205E-F907063FDE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071" y="766391"/>
            <a:ext cx="11345858" cy="5325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0825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FB76FA-CC90-AB8D-D0D1-581658F5C8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C0A8281-2536-3ACF-AD98-B35FFB81F2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3079BD5-9FE3-78BD-B2BA-FBDA4A0F8D0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85865D-C196-D9C7-3274-764291260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4283" y="1195075"/>
            <a:ext cx="9383434" cy="446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560826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76A2B1-89CA-C507-588D-FA6C980542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3136260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0705BC-DFBB-6A73-FC20-9BC771C278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4508028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540860A7-5084-EA51-EFE6-A772C5AEEB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650" y="1343025"/>
            <a:ext cx="4762500" cy="417195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0B9A46FA-C48A-B18E-C83A-8D17183C85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0" y="1428750"/>
            <a:ext cx="4762500" cy="4000500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8838AFE2-27BA-6D48-9628-B0B1B9357F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2361" y="208527"/>
            <a:ext cx="9507277" cy="1000265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36FD6A03-9C78-3C0C-A25C-1131D11714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8072" y="5773051"/>
            <a:ext cx="9535856" cy="876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195177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B91F5844-C88A-939B-E153-CC20E519AB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936" y="1711498"/>
            <a:ext cx="11642127" cy="3435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416666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0192F4-F6B8-BB06-5083-2BACECB879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FAA6D9F-1DDA-073F-93FB-18420399D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1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10299FF-6C01-7552-4ABD-5165E4ACD7C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2DB207F-BCA7-BF8C-C69D-6F15BD6F76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2573" y="1657102"/>
            <a:ext cx="7906853" cy="3543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833060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F37367-EAC1-AA82-EC37-86D8BD9FA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F6ED14B-AAB6-C76E-5CF1-F2BF0087D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1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DF37518-1B3C-8A3A-E1A9-395D690E6F9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33EB79E-F4B2-9B07-64F4-475F39B0F5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3994" y="1309391"/>
            <a:ext cx="7964011" cy="42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069337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1D9F9D-0AD5-735B-13CC-03F93F90B8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816F946-AC9F-98EB-D5CF-7F7B00DA0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1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A07F638-7530-5BF0-FC95-B41655DDB4E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D0BE431-2859-9F8A-0739-8B3E22CF74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4468" y="1318918"/>
            <a:ext cx="7983064" cy="422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007074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DA73B9-3184-A5B3-29C6-260032B6A5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A12FFA6-338D-B32B-6511-C4286C354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1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F01E83F-0EA9-4356-1FC3-EF57600F504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089C78E-C814-C1C6-D80B-DB629FB146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3388" y="1395128"/>
            <a:ext cx="8945223" cy="406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172257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6795E4-0315-1656-E4EB-72E950BC61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3603DF3-7167-4E78-3298-F7A158E3A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1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89B0656-6DEB-9FA6-1D19-A92E11ACE1D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AC14672-3B76-CBC5-A7F2-40A95A5D75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7810" y="1176023"/>
            <a:ext cx="7916380" cy="4505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860325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8186C0-AB5E-EE8F-421B-69AFA2EE5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C003A3D-BA88-7EF5-5353-FBC079307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1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4CB41CD-8339-5196-847F-7DFF7417B57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F8075D5-618B-669C-4E1F-A5E65538E2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5232" y="1599944"/>
            <a:ext cx="5801535" cy="365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0239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B7056E-C3A7-7EB2-E801-4A0782452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CCE9D84-A47C-9D27-2CB0-C05EE12A8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3308AF0-731A-B3F3-317E-935EB3AC31D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5631BF1-DBD4-EDB2-7126-7624B26B1F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624" y="1261760"/>
            <a:ext cx="10040751" cy="433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596039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FF8EE3-2E78-5D03-0E3A-607490746F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8153200-A278-CA9C-4DFF-85FCA89C98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2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9D8F816-68CE-C25B-B04B-8A5A8BEE10E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69290B8-8051-7D37-6066-23891E546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4730" y="1190312"/>
            <a:ext cx="9602540" cy="447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985211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D14F6B-D337-C7F2-2BFA-2B9D4B3D76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E21529E-E9A5-4FBF-1DB7-AB13C87E65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2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7463D65-D2BE-C287-5618-56F0A76D570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70982E52-E4E9-547C-A2F4-7F2CC7C593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2523" y="2652604"/>
            <a:ext cx="4686954" cy="155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203058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234CBF-0E17-D225-913C-38AEAA3A59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7605DB5-BD8C-CADF-B802-E87079196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2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5AA35FE-C5C6-CA3F-92C4-00F88B8F19A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F5F101B-87C9-5F51-087D-A249607461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7072" y="1228418"/>
            <a:ext cx="9897856" cy="4401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07409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7F66FA-6FBB-73A6-89D0-94326E4C5D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D808941-577E-8477-A793-140CFD6F5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2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E94B440-D06B-BEA3-C387-AB141BBC60F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A3B3665-F14C-B5B4-B6D2-D8F8F0F438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361" y="1152207"/>
            <a:ext cx="10231278" cy="4553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138711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D2C03A-772B-23E0-148E-7DC8C8E7F1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4B96844-3C39-9625-5175-144AE21BF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2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B3E3585-A4D1-1593-1BE0-F1F21DFC4AC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A87B21C-FC36-8F0A-EADC-2EC25DF894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8493" y="1180786"/>
            <a:ext cx="9955014" cy="4496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886320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863943-0389-D407-2F72-AB923FB930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4DFB46C-C9B9-F966-94DE-5BFA0234A7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2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6EBCC41-84DE-1704-86BD-EAA8066A184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864626B-77CB-3027-6160-FBDF294F64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6571" y="1156970"/>
            <a:ext cx="10078857" cy="4544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816445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9E889F-17A9-D9EA-182F-F74309512B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A7BA59E-A348-7008-8554-6B0F901F7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2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C8886C6-3702-6AD1-9BD5-40A0310906D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8B580C1-0474-D45A-2C9E-FB8506FC93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2282" y="1185549"/>
            <a:ext cx="10107436" cy="448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247494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2E0831C5-0058-D70A-0C9C-85272A7D07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8966" y="1004549"/>
            <a:ext cx="9974067" cy="4848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057970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189C25-6877-DFAE-BEEA-81F2263391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B08EFF7A-70C8-743B-4A17-04315AB82C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7992" y="1037891"/>
            <a:ext cx="10136015" cy="4782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297991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50814A-2FBD-C8BB-DFAD-88AF7C5282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8BD85187-476D-F5EA-0223-CE5D9D85E7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177" y="1437997"/>
            <a:ext cx="10183646" cy="398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3315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B08D35-B568-4CC5-1ACB-4F50A6D0C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80FB14C-EC4C-1C10-46DC-A3790E783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EFF570C-9988-D406-CF04-147D2E93D9F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FBC455F-D724-D9D8-3678-189215BED5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756" y="1018838"/>
            <a:ext cx="10126488" cy="4820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616405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28B31-B059-61C1-BD8F-3584AFF0DF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B662F009-2640-C08F-AE18-5140B95EF3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624" y="1480865"/>
            <a:ext cx="10040751" cy="3896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061203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351A29-7DB0-AF59-5B26-779318D78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58F8F4D-BB91-71D7-23DD-133EE730C3D4}"/>
              </a:ext>
            </a:extLst>
          </p:cNvPr>
          <p:cNvSpPr txBox="1"/>
          <p:nvPr/>
        </p:nvSpPr>
        <p:spPr>
          <a:xfrm>
            <a:off x="3048953" y="3244334"/>
            <a:ext cx="6097904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hlinkClick r:id="rId2"/>
              </a:rPr>
              <a:t>https://youtu.be/o4dCzqy1JrY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en-US" altLang="ko-KR" dirty="0">
                <a:hlinkClick r:id="rId2"/>
              </a:rPr>
              <a:t>https://youtu.be/o4dCzqy1JrY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>
                <a:hlinkClick r:id="rId3"/>
              </a:rPr>
              <a:t>https://youtu.be/hAfQa2oddA0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>
                <a:hlinkClick r:id="rId4"/>
              </a:rPr>
              <a:t>https://youtu.be/VQpg5jpfXPg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62804411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DE81BD-DD1E-6AEA-C79C-0156946C61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2603766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5153F8-EEAF-F2B1-5E4C-53EDD2C2AE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7934926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327281-AACF-FDBE-9084-CF8963833D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5867458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EFADAE-7A8B-21D2-71AB-ABCE4AFABD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47F989C1-4481-DF86-D28D-BD25F346B2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018" y="633022"/>
            <a:ext cx="10659963" cy="559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4762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39AEC-342A-6774-7296-5B5285FE33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33DCEEF-6CD4-C3A6-E2EF-C21232FE8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E16FA3F-EEE9-B6C7-3171-1C04E884BC4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9A0A25A-C353-4D22-AE54-97710B36D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203" y="1304628"/>
            <a:ext cx="10345594" cy="4248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8873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AD8D8D-A8C2-BE48-FA51-215E4AA78F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C90175C-AE1F-9B60-E16D-1CCC733EB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8966A34-7457-7224-EB6F-09BF16AEBAE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247E98C-E365-5DA7-A74F-02B52476CD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6677" y="971207"/>
            <a:ext cx="9278645" cy="4915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5474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953338-6904-F4D6-3C33-DE9B3103E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67356ED-4CA7-F5FF-9801-B56127156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CD9E055-FC2F-6E17-5745-A07E636D2E1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D8B4BBF1-B99D-D000-F734-B6BEC2E5A2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5944" y="1147444"/>
            <a:ext cx="4020111" cy="456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8789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B852CA-0559-7F98-4E63-ADFC73DDE1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911C07-B2BD-9217-D675-F4D7B4E66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F6C4A94-C8A7-DF90-68D2-9A4DD14D07B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D27623-8746-255E-57E4-AC52876F4A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1520" y="942628"/>
            <a:ext cx="8668960" cy="4972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9815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90F0CC-F30D-2EAA-2EA6-1C4F9CC945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A3EF152-925C-CDA2-AA23-95FA5316F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087330A-CD54-BFF3-EFD7-A4D64F31FA4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F17583F-3939-38CD-F766-F76197C70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3626" y="1890498"/>
            <a:ext cx="7144747" cy="307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6083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EFBD7DD-45FB-1C1A-67BE-C3B01FEFA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0E2441-3A39-37F9-C6BF-074BFD6F20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https://youtu.be/tZu4x5825LI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168296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57167B-2FF8-D9FE-B183-ECB389939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1FF3509-5D08-B940-2AFA-64151CF22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E380E59-A770-9E51-C69C-E735D156910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2B5D71A-4215-C34A-E764-A5EFD2D2CD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4812" y="2881236"/>
            <a:ext cx="5382376" cy="1095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1965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16B0AA-E5B4-7F8C-DCB0-B478F43177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9F79655-634B-CE2F-386D-1C2108219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72AE54C-6B8D-DAF4-4FD0-D25F9C2A14D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A04C3A3-9B9C-C4BA-813A-42431E2F08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861" y="1075996"/>
            <a:ext cx="9326277" cy="47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4211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67E2C1-F8CE-53D3-8A6F-A64E8265C4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EF64608-1649-8FF2-3832-BE7B4635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DBF2B35-F43A-22D4-B3C2-C2FBE9D4FAB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7991406-3F01-5287-0338-215579B7DE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9440" y="1576129"/>
            <a:ext cx="9993120" cy="3705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4268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D02DA6-2F31-4843-C96A-CB899D6C09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40B2671-99FB-8D74-DD09-E44E0CEEF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A492428-AF91-496D-8997-E6A014525E6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03C708E-D61B-D495-6EBC-D6B73E0ACD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1888" y="1142681"/>
            <a:ext cx="9488224" cy="457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1181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235264-AA08-5DA8-CF0A-2E0BC50C08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675866E-ECF1-7854-F03D-BD43C7376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7BA48E9-7FBE-55BD-85E6-EE194F9DDC5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2FA3BE6-632E-AE3F-6F6A-E4E610CEF9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440" y="1071233"/>
            <a:ext cx="9631119" cy="4715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3526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7FDEB1-547E-8092-93FB-8D7151CC2B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5B9411A-9F32-4351-A832-633F1DA76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60ACEC9-3284-E5BE-FEA4-4564169231D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34B93E-2B77-7FE6-4199-45DCE984C1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967" y="1052181"/>
            <a:ext cx="9612066" cy="4753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5987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4FAF7C-3FE8-B87C-EED0-DD91982684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2D332A5-85E2-A243-7EAD-38A6EE251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DD8BFB5-5A6A-AEA8-F271-4EF78535126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7196930-406C-E1CD-01FB-F81F512B9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5203" y="990259"/>
            <a:ext cx="9621593" cy="4877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5343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01D246-9486-56B3-163E-FC9E969DC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C37768F-98A4-27B2-5160-678EBC5D0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04FF278-4653-5544-438E-4B7EAD18747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0286DB4-95C5-DACC-2A28-85121AA552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1258" y="1599944"/>
            <a:ext cx="7049484" cy="365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8402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4E7075-62D9-A6D7-9C0D-8FC35F6AA9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478F46F-F611-5FDF-18A0-555835007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F3503C5-6DE8-82CA-571C-A5A2C5C2284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BB4353E-6E51-B9DA-051B-2556E343B6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4862" y="1395128"/>
            <a:ext cx="8602275" cy="406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5819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AAFC43-3D6A-B332-4741-D793F1419F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C624B8F-4426-A2C4-1A75-C95839DB36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68EE8A9-416D-B601-2376-40D3E803966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9A40C78-50A9-55A5-3C3F-4C3DF5EC45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0337" y="247206"/>
            <a:ext cx="6811326" cy="6363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7340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3A66F9-62A6-C764-4202-617CF29BD8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40F27F3-339B-50C8-EEE7-D4FAB4E56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46D86D1-1E15-2CF2-0F38-9ACF174EDE9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0D3E9F2-C86D-1C2D-BEB1-7C9B466FCA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7916" y="1194907"/>
            <a:ext cx="7116168" cy="75258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651756ED-3484-C9DD-FE00-246B926CBA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0311" y="1947487"/>
            <a:ext cx="7011378" cy="790685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E6D88B77-C0D2-1A9E-4730-C2FCF96139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85521" y="2738172"/>
            <a:ext cx="7220958" cy="781159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5819F76C-D81A-6C4C-9C3E-6C97217BB7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1258" y="3632649"/>
            <a:ext cx="7049484" cy="752580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1ADD685D-A9E9-3916-F205-80ED3616D0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52205" y="4498547"/>
            <a:ext cx="7087589" cy="771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021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51D7AE4D-839C-96CB-786E-8CE0BAC4CD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1732" y="728285"/>
            <a:ext cx="7068536" cy="540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8796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2CD180-169B-EA5C-E2B3-48F37E5831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CBBE54C-E1FE-9680-1928-C2E51DF66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147F533-286E-7E19-490E-78671FE4C5A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1434138-E2C4-0252-50CC-3C9ED6D040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8257" y="2285840"/>
            <a:ext cx="8135485" cy="2286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6732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7E106D-E891-9EB4-2ED4-FBB16CDA1B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98DD555-41DA-239A-BD41-94129F95D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9591946-CDCE-32E6-765A-BFE3533A4CD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DF4B97C-0DB1-9754-C0AC-61E86C5911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8363" y="1738076"/>
            <a:ext cx="7335274" cy="338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1574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C2E26-0EF1-E5C2-2289-7F7FB60B02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3FC67A0-3AA9-20FE-E036-C9D5189E4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E664850-2807-E071-CA39-FD55D1749FF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EB2CC1C-EA06-8FA2-61BF-300DC1E90C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0258" y="1209365"/>
            <a:ext cx="7411484" cy="443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8888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39D59C-9C0C-B7F4-E975-0C7707634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BBA75F8-0625-FA0F-4118-6D5DF781F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D63ECB7-4A67-A88D-2432-AF1968C2DF0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52B4A4A-1E0F-503B-265C-D99E6130BE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6389" y="1823813"/>
            <a:ext cx="7859222" cy="3210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6215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C12E19-8932-D06F-75E3-A5918F6DD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2B0E7C7-388E-273D-C22A-57916E761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38F9D9C-9728-D06B-C0EC-211520DECB0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0207374-0977-4182-3F75-4735469E85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2099" y="1437997"/>
            <a:ext cx="7887801" cy="398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65221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FA9A95-E21B-7F15-2926-AE09EC6FA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D121336-08EF-9BC3-1844-064EA2EFD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A664768-9642-3874-DBA7-F11F72A38BE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128E0A1-B296-5C17-617B-7AFCD5890E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257" y="1871445"/>
            <a:ext cx="7773485" cy="3115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3414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8C5D52-61D6-46D2-F678-362AB24ADE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8017264-0908-DB10-7B0B-3D42EFE5A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E6777B4-36AC-C0D7-5828-AC1E1931A3D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19C3C55-EFBE-D18E-DE28-9CC0973129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1205" y="1361786"/>
            <a:ext cx="7449590" cy="413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7673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CB1F8E-DD0C-C08A-F24F-B9591263F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1BCC3D-7627-3FE4-1DD9-7500C4486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5945B15-6F5D-8ABB-BF8A-BE0AE19DE16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9432C6A-DBA8-D3A5-37FF-B8FA968C81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7760" y="1857155"/>
            <a:ext cx="4696480" cy="3143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2690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39C7DF-D588-4350-B9F3-96585ABD86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7D75832-A241-23F2-73B7-AA915DF27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23A2FFA-08F7-4AF2-EE11-D923569BCFF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26330E3-B429-3D13-E92C-5320D6BD86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0443" y="1609471"/>
            <a:ext cx="6011114" cy="3639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37527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79C6B-40EE-8938-4760-B8673B9F26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D0263A7-B90A-7F08-4845-14C6B6058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D3242CB-DD59-8EF5-99B9-A47D1731D7E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299D707-A751-CAEA-2CC0-1A63E5B6C2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5677" y="1185549"/>
            <a:ext cx="9640645" cy="448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4018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AD1FC5-5792-9BC7-06A4-552AA93BA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688D1FF6-7896-3552-9501-909976629B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6942" y="466311"/>
            <a:ext cx="7278116" cy="592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86470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B470D3-D7B2-DA15-65B7-264186BEE4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6D58124-0BC2-D35E-DD2F-CB60ADFE5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4873C6B-B420-C277-90A3-ED38AE8CE62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A7E0D52-2D18-BCBA-7806-E28F6F6AF7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9599" y="1204602"/>
            <a:ext cx="8792802" cy="444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22124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4C247-6288-6813-3348-18806E8481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89246C4-5C2D-FF5E-63D6-A88DEB977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39DDC75-EA4F-7C4D-D537-B9A7A61AE08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D5F2569-1C0A-73B5-FCA6-ACF06CA37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7598" y="1280812"/>
            <a:ext cx="9516803" cy="429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8731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92B6C1-49CB-9B41-2D1A-14BD501BD9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389DF85-DA40-475F-3EFC-9FF31519A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5D81443-C440-7EE0-B09A-85FD7B95431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020BF34-6233-5244-0D64-544200BE3A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50000"/>
          <a:stretch/>
        </p:blipFill>
        <p:spPr>
          <a:xfrm>
            <a:off x="1356651" y="828312"/>
            <a:ext cx="4739349" cy="520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34051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41CC7D-FA4C-3C8D-2409-3E3D09D309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71BC508-6916-99E0-3FC7-15E87A3C6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5FF6F9B-1605-8FE4-248F-7555F9D302D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BCD6107-4C30-DEA1-6C9D-57423AFDD2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7598" y="1280812"/>
            <a:ext cx="9516803" cy="429637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5B1BC77F-B4B6-21E6-30D8-9B376C7901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6651" y="828312"/>
            <a:ext cx="9478698" cy="520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15453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E4114-EF40-694C-E886-7EFCB837C8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56CA799-3B19-03B4-D722-79F87FB4F6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843AC41-BADC-41E1-2A77-4D6A13DCE7F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83A06FE-0CED-61D5-FE85-78F212FD4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3388" y="1738076"/>
            <a:ext cx="8945223" cy="338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60513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C6218-B896-487F-5C4F-974FD8CC4D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387DBD5-931F-47CA-2F9E-48DD8287F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E652E55-3A28-C154-939A-6CC60FEDEC4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F8B6B4E-5DD7-1AA0-2680-9700F425A9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3547" y="1009312"/>
            <a:ext cx="7744906" cy="483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33256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F0C76-8FC6-0F2C-B975-EE2A438FA7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D98DF9C-73D6-8CA8-8A90-A162FDF45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2EB5BD8-DDFD-0E5E-BE03-E2C7AFE2CCF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DAA1507-16C1-B1AB-9ECD-79682BD2F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3838" y="2352525"/>
            <a:ext cx="5544324" cy="215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72062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C9E73C-5B96-8DE0-E24F-ADB2559594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205AEF9-D917-014E-BD72-8ADF23F6D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C15EE03-E50F-AF1E-06FA-336F7459EC0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75F51E9-8A4B-0E2D-85AE-40EF5A48BE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861" y="1514208"/>
            <a:ext cx="9326277" cy="3829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3772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D595C2-E342-4ABB-9E9D-F5ED172FE9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877D8A9-3A5B-91D2-EB57-DB3A1F98A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F69A070-CE7A-A68B-91D3-9EF93592B74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4AD0FC8-AB89-E0D4-A6C3-75EBBCF7A9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257" y="1995287"/>
            <a:ext cx="7773485" cy="286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76402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8DC5DE-547E-6BB7-7285-139995840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D204864-A8EB-198C-E2E9-91277E109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EAC3C4C-8FA3-6006-CFAE-5B8D2232BC3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74D8B7F-1F6A-BB22-670B-53499C2A2B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3543" y="2852080"/>
            <a:ext cx="3524914" cy="115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95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05EFC6-8347-46A0-5ADD-C18324BDE8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FF0166E0-5995-9F4B-E184-AC2EA86A9E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8363" y="1504681"/>
            <a:ext cx="7335274" cy="384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36973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F2A741-F09F-4216-1701-4FD2FED5D6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1BAC492-61EC-E7A8-82E8-81A8EC56E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29A045B-E672-699C-D2C2-60DB5A2C6F7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F028499F-CB82-84A3-5D9A-C467C22A1D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6021" y="2552577"/>
            <a:ext cx="7039957" cy="175284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01A27F2-B02B-9112-DBFE-E386A2F5AA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4073" y="4663087"/>
            <a:ext cx="7363853" cy="1381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83010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828538-76A1-8C2A-B206-CB193FE5B7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0EAF361-B619-7A63-3C5D-A983AE463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73DDC36-46D7-026D-081D-CCA6B31541C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0968650-E30E-36CC-9FDF-671F5BB3AF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7916" y="1847629"/>
            <a:ext cx="7116168" cy="3162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51458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264A3F61-A782-9F3A-79B6-1CEEE02A21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571" y="1357023"/>
            <a:ext cx="10802858" cy="4143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54261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EF4326-DDE6-5B8B-E28C-7316B942A0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062376B-8077-5A50-287E-15A93C245D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EA8E590-9504-8830-F3E7-4924C064CC0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05C20FD-3272-4197-CBC4-10F0D95E1D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4047" y="794970"/>
            <a:ext cx="7563906" cy="526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90694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0F697-EA55-2FC9-9BCE-624329F9DB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696A60F-FFE5-345D-DA74-21EFD4C38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C5DF051-451B-CD62-E7A9-08818BCA3DA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68776BD-E8BE-43AC-A586-0DF94193BB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5047" y="761628"/>
            <a:ext cx="7201905" cy="533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65610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5B03C3-FCD5-95E8-FF81-A28CF3832D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6D4448B-F2FE-4051-65B9-163517280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C4ADF0D-7DD2-9E21-DF4C-26403FF6C34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CE335BB-68AA-5562-2BE9-0B40429105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7206" y="799733"/>
            <a:ext cx="5277587" cy="5258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42734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D6A354-B125-6D4A-0C5C-1DC83D59CB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2E62008-5A80-385E-1017-BCAF1A42E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E76447C-1B8B-369A-2D83-A8F33859A74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DDFD06F-AA15-10F0-C5CC-1E1D057193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8863" y="1476102"/>
            <a:ext cx="7154273" cy="390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6047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AB6380-2251-195A-37C1-23012F77CE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038ACFB-EFE0-8BA1-7B08-1AF672547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08A07DD-BF05-1BED-4271-A9AE78EF6D3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501C593-4E08-EA33-419D-11DA15916A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9154" y="2090550"/>
            <a:ext cx="4953691" cy="2676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13448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AAA09-6391-5091-1D32-110EDC890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F5E05A0-746B-4F31-C920-8D0FC5E2C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896DDC0-B0DD-EE11-FBE5-3FDAF270529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554335E-8E37-1758-D8A6-EAFDFA5E6A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5547" y="504417"/>
            <a:ext cx="7020905" cy="5849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36935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301B64-B549-AAA9-C741-60B1C58A9F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8BD8421-D8C5-BBB0-A632-29881BF1F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261E9F8-B4EE-34E1-D530-2A5C77AF0C5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79406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47338B-07F2-F9DA-C7B6-364CCA122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592D7328-353E-7025-8358-371D5B7677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0758" y="347232"/>
            <a:ext cx="7230484" cy="616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92887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4A1C36-D684-206F-FF5D-E8F722E8B7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2CB1EF6-54B4-3E45-40F5-CF6353FCB8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3EC4C89-CE44-5663-FE8F-16C1D13A8B4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6207AA9-BC41-02F2-0B92-544EEB811A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2589" y="1625046"/>
            <a:ext cx="8506821" cy="360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56444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7CADCD-F0E4-68DD-599C-909EA70FE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F4694C4-2099-0D80-07A7-A75F8E163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3658666-1942-2981-52E6-6438E073D39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96EF06B-8E4E-9C10-13BF-6E493B8DB3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2437" y="1561648"/>
            <a:ext cx="8207124" cy="3734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56298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A62DB7-88FF-2527-039C-4C690A0043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CFA2494-D179-DAA1-612F-55B333740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2FF4F8C-BC70-049B-2817-C4707459F9B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532BA7F-409F-A079-ED28-178E3F2B2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3621" y="1532832"/>
            <a:ext cx="8264758" cy="379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68402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EFEE30-8C83-02D6-4655-F7BBAB155F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1633C46-28FC-E023-D62E-6C2953973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521C44E-D894-9984-0BE8-2C5CA0BE287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B407715-B213-5BED-4BE1-621F1F0A15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7513" y="1463671"/>
            <a:ext cx="8356973" cy="3930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55452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07D05-722F-840D-549D-8EB0D44C2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98C2975-5A97-DF50-5F94-410CAD456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5DE2E26-ED2F-2E93-C9E9-08656D78CFA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9DAFACD-5DD2-2056-4F3B-4015FA7941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6179" y="1279240"/>
            <a:ext cx="7999640" cy="4299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0959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A2A169-DF31-B4AC-DA8E-48B7790AA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79859F9-FD94-95CD-4A28-5D9E8AB94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BA6A542-7A87-400F-9AFF-CD14E366650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A853734-E5E0-EC8A-3AEA-7F25AEC9D1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4285" y="704470"/>
            <a:ext cx="5763429" cy="5449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50203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F7F4D7-AB72-366E-01C2-FE7706E1D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24D296-7E24-F5EF-2862-5A5DAC0AA4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56B6010-62F9-A594-DAF8-7F59337B951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ABED169-1C13-C7E0-D8B1-0514E3E5AF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2179" y="1342734"/>
            <a:ext cx="7287642" cy="4172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57419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9B4EDD-6A73-1B86-74A1-DD31E9C4C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03D1E46-50B1-4A05-1902-3A3F8BC9D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3D229DB-6964-997A-B270-FE5967B3EED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E5C6F97-4A92-F4AC-84BB-904AADF913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7863" y="1052181"/>
            <a:ext cx="7516274" cy="4753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5040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9A539-3F12-7652-5625-74A872870F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542C72C-9D2E-ABD4-4E06-579702D45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4636D44-E3DF-F4F7-6509-5D36F926ABE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2A7F816-27F0-2B89-AD03-EE0AFA1320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1335" y="866417"/>
            <a:ext cx="10069330" cy="5125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43448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326A1C-BDFC-E061-B99B-73052084FE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33E41F4-6057-F672-3CD2-8FC01E892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80C7C49-40CB-237A-945D-1DB2522B296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11292B3-AE19-A7FB-7F7E-50ED84321D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5177" y="856891"/>
            <a:ext cx="9821646" cy="5144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7809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070D7A-A1C0-7A5F-6B3D-4BCF9A892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01BE6110-B114-729B-7D4F-717DB91CD6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9810" y="2076261"/>
            <a:ext cx="7192379" cy="2705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79585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BB5E6C-C909-EA91-C1A9-5F27DD51D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6023155-855E-AE2D-45FF-09617082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77058EF-08B0-D44F-3EAC-A359770B168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C9731D7-47EF-6360-BAB7-D96140DEED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0887" y="775917"/>
            <a:ext cx="9850225" cy="5306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96808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771145-3BB8-66FD-DABC-0538A913E0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252BB9F-2821-3198-55CC-1C6DD105E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D26A6E9-35A9-685B-1F1C-3BFF7F3EBA3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314A758-ECAE-1178-F12C-83CA5DFC08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3862" y="1204602"/>
            <a:ext cx="8964276" cy="444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81697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FCDC04-1C4C-6196-FD53-B2F03E4FC5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643C066-7538-7242-616C-E187D49D0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68FCE4D-034A-4007-AB34-5745F034CB2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BD19BFD-831E-3C7A-E3CD-D383B61F68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9572" y="1342734"/>
            <a:ext cx="8992855" cy="4172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59378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5471CE-BC03-9C4A-571B-2E18BD116F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D1ED380-FE96-89DE-AA2C-06DC0939A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6A1E553-0C57-9B62-EC87-100C06A36C6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658397F-176F-8374-93B4-A4D36AEBCB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3729" y="928338"/>
            <a:ext cx="9964541" cy="5001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83369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8875A-65F6-95CF-A2BB-B96AF4B361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3818D41-272A-0640-E576-4263221DAA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809C94E-1448-C450-CCEC-8C007EC25DD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1FBD4B0-5FE2-92AC-B13B-A2F90230AA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309" y="1409418"/>
            <a:ext cx="9183382" cy="4039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53834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918E15-CEAB-2DA8-9350-7F264B446F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852E95A-CF7A-4962-9ECF-E45198109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1CA9B9C-9F31-B5E1-4C37-0DDA0305C0B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8C732B2-610E-CC44-71B4-98F7F9C1F5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3362" y="1161733"/>
            <a:ext cx="9145276" cy="453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63592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485B9-AF6B-4CF3-1D55-16CCDC111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8FE622F-32E1-7480-C49A-6C2970521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087A599-1DBA-1C35-E221-43B5F827F54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C3386CE-69DF-B862-AFC5-9D1C2EDFA7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4994" y="1152207"/>
            <a:ext cx="7602011" cy="4553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023166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BBBA4-16F1-9A34-BF28-6EA70FE67E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C666F93-EDCA-AEEF-53B5-34F6713D8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86967C3-A903-DDB5-CEF6-741111A2548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CA58B70-9633-523F-D77C-A29285611F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4023" y="2119129"/>
            <a:ext cx="4143953" cy="2619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27191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41E0A2-E426-813C-647A-7FF7E6804B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84CAE95-FC1C-A4CF-DAC4-36C91179C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3FF0715-3BBD-CFA4-7E04-081C6D5546C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AE9C3EF-4A13-8E7E-8B6C-57AD6FA1C7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5127" y="1771418"/>
            <a:ext cx="6601746" cy="331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47682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7B6ECD-75E9-6E7A-28AE-1304206B6A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5364F49-7DE4-36AB-3E72-01DCBE2DD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E584019-B1CC-995A-1E4E-662D458A153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E67ADEF-F55A-82D1-625B-5BA6368BE2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8019" y="1180786"/>
            <a:ext cx="9935962" cy="4496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9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E7CC01-3C6F-0F71-6C6E-5B61E35C44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980FFF05-54DB-05EA-6B1D-A048FA1BE5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0284" y="2066735"/>
            <a:ext cx="7211431" cy="272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615605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0E9BD9-5F01-BD53-9A10-F0542C0CD5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23C9D95-EDF3-3355-5E6D-7A696236F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777DF2B-E951-6C22-78B1-059C8577A66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9AC486C-2D0D-A2B1-F777-D11B8E6875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729" y="1447523"/>
            <a:ext cx="10326541" cy="3962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00220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204878B8-F9CA-9674-94DB-B1F123AA0A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3441" y="561575"/>
            <a:ext cx="8545118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916571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97AB24-68A4-7A50-AEF2-E04E733FBF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3533F12-53AB-F1F0-0265-D7885841D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DE0B6E4-1A1F-3D09-B3D8-6281811DECB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5D95F7-910E-30EE-8DFA-9123C7AF1E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861" y="1552313"/>
            <a:ext cx="10050278" cy="375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043465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22585-F00B-7D5D-D07A-8A2E7FF9B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27A55F7-1860-5A47-9B37-3BF85B475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3A64236-A1BA-C714-3081-921DE8BD516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E3E050B-8F76-5D06-E19D-98EF78CF49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177" y="1328444"/>
            <a:ext cx="9097645" cy="4201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1375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BA801C79-BF3F-58E5-69B4-7B4EFF8AB2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725" y="2495550"/>
            <a:ext cx="9734550" cy="186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218417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3D553635-6E3D-9AC5-D029-2EF5ED7B9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416647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B00FE6-1A7F-F07A-28AC-B1FEBD31C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B5D0863-8C9D-5692-49D5-A23E2AD36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B0F9FF0-C738-00D0-3A54-97254B4B8E1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8270C21-D5EE-7E68-F621-18154F49F8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9599" y="885470"/>
            <a:ext cx="8792802" cy="508706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69AD0153-76C5-40AD-B5FC-682FF36EBD0F}"/>
                  </a:ext>
                </a:extLst>
              </p14:cNvPr>
              <p14:cNvContentPartPr/>
              <p14:nvPr/>
            </p14:nvContentPartPr>
            <p14:xfrm>
              <a:off x="1917501" y="5534576"/>
              <a:ext cx="1552320" cy="613080"/>
            </p14:xfrm>
          </p:contentPart>
        </mc:Choice>
        <mc:Fallback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69AD0153-76C5-40AD-B5FC-682FF36EBD0F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908861" y="5525936"/>
                <a:ext cx="1569960" cy="630720"/>
              </a:xfrm>
              <a:prstGeom prst="rect">
                <a:avLst/>
              </a:prstGeom>
            </p:spPr>
          </p:pic>
        </mc:Fallback>
      </mc:AlternateContent>
      <p:grpSp>
        <p:nvGrpSpPr>
          <p:cNvPr id="22" name="그룹 21">
            <a:extLst>
              <a:ext uri="{FF2B5EF4-FFF2-40B4-BE49-F238E27FC236}">
                <a16:creationId xmlns:a16="http://schemas.microsoft.com/office/drawing/2014/main" id="{92CF54AD-501B-4D70-B38F-BBEAE085A20D}"/>
              </a:ext>
            </a:extLst>
          </p:cNvPr>
          <p:cNvGrpSpPr/>
          <p:nvPr/>
        </p:nvGrpSpPr>
        <p:grpSpPr>
          <a:xfrm>
            <a:off x="3290181" y="3623336"/>
            <a:ext cx="6932160" cy="2731320"/>
            <a:chOff x="3290181" y="3623336"/>
            <a:chExt cx="6932160" cy="2731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9414103D-6743-4F78-94E1-7BD07D60E6FD}"/>
                    </a:ext>
                  </a:extLst>
                </p14:cNvPr>
                <p14:cNvContentPartPr/>
                <p14:nvPr/>
              </p14:nvContentPartPr>
              <p14:xfrm>
                <a:off x="3290181" y="4156136"/>
                <a:ext cx="6932160" cy="219852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9414103D-6743-4F78-94E1-7BD07D60E6FD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3281181" y="4147496"/>
                  <a:ext cx="6949800" cy="221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90BEEDD1-826C-47B0-8865-84ACE16731EE}"/>
                    </a:ext>
                  </a:extLst>
                </p14:cNvPr>
                <p14:cNvContentPartPr/>
                <p14:nvPr/>
              </p14:nvContentPartPr>
              <p14:xfrm>
                <a:off x="9657861" y="3712976"/>
                <a:ext cx="549360" cy="360000"/>
              </p14:xfrm>
            </p:contentPart>
          </mc:Choice>
          <mc:Fallback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90BEEDD1-826C-47B0-8865-84ACE16731EE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9649221" y="3703976"/>
                  <a:ext cx="567000" cy="37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56D3CD34-B476-4F77-917E-8C4DDCA739FB}"/>
                    </a:ext>
                  </a:extLst>
                </p14:cNvPr>
                <p14:cNvContentPartPr/>
                <p14:nvPr/>
              </p14:nvContentPartPr>
              <p14:xfrm>
                <a:off x="9305421" y="3698576"/>
                <a:ext cx="402480" cy="163080"/>
              </p14:xfrm>
            </p:contentPart>
          </mc:Choice>
          <mc:Fallback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56D3CD34-B476-4F77-917E-8C4DDCA739FB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9296421" y="3689936"/>
                  <a:ext cx="420120" cy="18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9" name="잉크 8">
                  <a:extLst>
                    <a:ext uri="{FF2B5EF4-FFF2-40B4-BE49-F238E27FC236}">
                      <a16:creationId xmlns:a16="http://schemas.microsoft.com/office/drawing/2014/main" id="{5C1488EA-88D7-41AD-AB36-1888F874F956}"/>
                    </a:ext>
                  </a:extLst>
                </p14:cNvPr>
                <p14:cNvContentPartPr/>
                <p14:nvPr/>
              </p14:nvContentPartPr>
              <p14:xfrm>
                <a:off x="8740221" y="3663656"/>
                <a:ext cx="550800" cy="126000"/>
              </p14:xfrm>
            </p:contentPart>
          </mc:Choice>
          <mc:Fallback>
            <p:pic>
              <p:nvPicPr>
                <p:cNvPr id="9" name="잉크 8">
                  <a:extLst>
                    <a:ext uri="{FF2B5EF4-FFF2-40B4-BE49-F238E27FC236}">
                      <a16:creationId xmlns:a16="http://schemas.microsoft.com/office/drawing/2014/main" id="{5C1488EA-88D7-41AD-AB36-1888F874F956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731581" y="3655016"/>
                  <a:ext cx="568440" cy="143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F8A7C5CA-8C60-4A78-A6B3-FD9FBE5D62B4}"/>
                    </a:ext>
                  </a:extLst>
                </p14:cNvPr>
                <p14:cNvContentPartPr/>
                <p14:nvPr/>
              </p14:nvContentPartPr>
              <p14:xfrm>
                <a:off x="8106261" y="3689216"/>
                <a:ext cx="621720" cy="107280"/>
              </p14:xfrm>
            </p:contentPart>
          </mc:Choice>
          <mc:Fallback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F8A7C5CA-8C60-4A78-A6B3-FD9FBE5D62B4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097621" y="3680216"/>
                  <a:ext cx="639360" cy="12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78BC72FC-E99F-44E0-A697-055E95095F71}"/>
                    </a:ext>
                  </a:extLst>
                </p14:cNvPr>
                <p14:cNvContentPartPr/>
                <p14:nvPr/>
              </p14:nvContentPartPr>
              <p14:xfrm>
                <a:off x="7446381" y="3688856"/>
                <a:ext cx="653040" cy="83160"/>
              </p14:xfrm>
            </p:contentPart>
          </mc:Choice>
          <mc:Fallback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78BC72FC-E99F-44E0-A697-055E95095F71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7437381" y="3679856"/>
                  <a:ext cx="670680" cy="10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2" name="잉크 11">
                  <a:extLst>
                    <a:ext uri="{FF2B5EF4-FFF2-40B4-BE49-F238E27FC236}">
                      <a16:creationId xmlns:a16="http://schemas.microsoft.com/office/drawing/2014/main" id="{4AF68261-C72E-44E2-B7B5-AB6B02F9FFBF}"/>
                    </a:ext>
                  </a:extLst>
                </p14:cNvPr>
                <p14:cNvContentPartPr/>
                <p14:nvPr/>
              </p14:nvContentPartPr>
              <p14:xfrm>
                <a:off x="6717741" y="3640256"/>
                <a:ext cx="727920" cy="131760"/>
              </p14:xfrm>
            </p:contentPart>
          </mc:Choice>
          <mc:Fallback>
            <p:pic>
              <p:nvPicPr>
                <p:cNvPr id="12" name="잉크 11">
                  <a:extLst>
                    <a:ext uri="{FF2B5EF4-FFF2-40B4-BE49-F238E27FC236}">
                      <a16:creationId xmlns:a16="http://schemas.microsoft.com/office/drawing/2014/main" id="{4AF68261-C72E-44E2-B7B5-AB6B02F9FFBF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6709101" y="3631616"/>
                  <a:ext cx="745560" cy="14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A946952A-971E-4C13-A8DE-510EE35B64E9}"/>
                    </a:ext>
                  </a:extLst>
                </p14:cNvPr>
                <p14:cNvContentPartPr/>
                <p14:nvPr/>
              </p14:nvContentPartPr>
              <p14:xfrm>
                <a:off x="6077661" y="3623336"/>
                <a:ext cx="625320" cy="124200"/>
              </p14:xfrm>
            </p:contentPart>
          </mc:Choice>
          <mc:Fallback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A946952A-971E-4C13-A8DE-510EE35B64E9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6068661" y="3614336"/>
                  <a:ext cx="642960" cy="14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5" name="잉크 14">
                  <a:extLst>
                    <a:ext uri="{FF2B5EF4-FFF2-40B4-BE49-F238E27FC236}">
                      <a16:creationId xmlns:a16="http://schemas.microsoft.com/office/drawing/2014/main" id="{95C4CD8E-35D6-4C63-831E-1CE70C6114CF}"/>
                    </a:ext>
                  </a:extLst>
                </p14:cNvPr>
                <p14:cNvContentPartPr/>
                <p14:nvPr/>
              </p14:nvContentPartPr>
              <p14:xfrm>
                <a:off x="5837541" y="3761576"/>
                <a:ext cx="358920" cy="288360"/>
              </p14:xfrm>
            </p:contentPart>
          </mc:Choice>
          <mc:Fallback>
            <p:pic>
              <p:nvPicPr>
                <p:cNvPr id="15" name="잉크 14">
                  <a:extLst>
                    <a:ext uri="{FF2B5EF4-FFF2-40B4-BE49-F238E27FC236}">
                      <a16:creationId xmlns:a16="http://schemas.microsoft.com/office/drawing/2014/main" id="{95C4CD8E-35D6-4C63-831E-1CE70C6114CF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5828541" y="3752936"/>
                  <a:ext cx="376560" cy="30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6" name="잉크 15">
                  <a:extLst>
                    <a:ext uri="{FF2B5EF4-FFF2-40B4-BE49-F238E27FC236}">
                      <a16:creationId xmlns:a16="http://schemas.microsoft.com/office/drawing/2014/main" id="{00C7C9C2-A1D7-4BA4-9B47-4D5516A8273B}"/>
                    </a:ext>
                  </a:extLst>
                </p14:cNvPr>
                <p14:cNvContentPartPr/>
                <p14:nvPr/>
              </p14:nvContentPartPr>
              <p14:xfrm>
                <a:off x="6253701" y="3817376"/>
                <a:ext cx="94680" cy="3600"/>
              </p14:xfrm>
            </p:contentPart>
          </mc:Choice>
          <mc:Fallback>
            <p:pic>
              <p:nvPicPr>
                <p:cNvPr id="16" name="잉크 15">
                  <a:extLst>
                    <a:ext uri="{FF2B5EF4-FFF2-40B4-BE49-F238E27FC236}">
                      <a16:creationId xmlns:a16="http://schemas.microsoft.com/office/drawing/2014/main" id="{00C7C9C2-A1D7-4BA4-9B47-4D5516A8273B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6244701" y="3808376"/>
                  <a:ext cx="112320" cy="2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7" name="잉크 16">
                  <a:extLst>
                    <a:ext uri="{FF2B5EF4-FFF2-40B4-BE49-F238E27FC236}">
                      <a16:creationId xmlns:a16="http://schemas.microsoft.com/office/drawing/2014/main" id="{3B545C2F-8FAF-4246-AF68-EF547C960593}"/>
                    </a:ext>
                  </a:extLst>
                </p14:cNvPr>
                <p14:cNvContentPartPr/>
                <p14:nvPr/>
              </p14:nvContentPartPr>
              <p14:xfrm>
                <a:off x="6309141" y="3730616"/>
                <a:ext cx="10080" cy="189360"/>
              </p14:xfrm>
            </p:contentPart>
          </mc:Choice>
          <mc:Fallback>
            <p:pic>
              <p:nvPicPr>
                <p:cNvPr id="17" name="잉크 16">
                  <a:extLst>
                    <a:ext uri="{FF2B5EF4-FFF2-40B4-BE49-F238E27FC236}">
                      <a16:creationId xmlns:a16="http://schemas.microsoft.com/office/drawing/2014/main" id="{3B545C2F-8FAF-4246-AF68-EF547C960593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6300501" y="3721976"/>
                  <a:ext cx="27720" cy="20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18" name="잉크 17">
                  <a:extLst>
                    <a:ext uri="{FF2B5EF4-FFF2-40B4-BE49-F238E27FC236}">
                      <a16:creationId xmlns:a16="http://schemas.microsoft.com/office/drawing/2014/main" id="{A5699351-F0DD-442B-8BEC-704DF9B50127}"/>
                    </a:ext>
                  </a:extLst>
                </p14:cNvPr>
                <p14:cNvContentPartPr/>
                <p14:nvPr/>
              </p14:nvContentPartPr>
              <p14:xfrm>
                <a:off x="6374301" y="3746816"/>
                <a:ext cx="66600" cy="148320"/>
              </p14:xfrm>
            </p:contentPart>
          </mc:Choice>
          <mc:Fallback>
            <p:pic>
              <p:nvPicPr>
                <p:cNvPr id="18" name="잉크 17">
                  <a:extLst>
                    <a:ext uri="{FF2B5EF4-FFF2-40B4-BE49-F238E27FC236}">
                      <a16:creationId xmlns:a16="http://schemas.microsoft.com/office/drawing/2014/main" id="{A5699351-F0DD-442B-8BEC-704DF9B50127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6365661" y="3738176"/>
                  <a:ext cx="84240" cy="16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19" name="잉크 18">
                  <a:extLst>
                    <a:ext uri="{FF2B5EF4-FFF2-40B4-BE49-F238E27FC236}">
                      <a16:creationId xmlns:a16="http://schemas.microsoft.com/office/drawing/2014/main" id="{CCA58DC8-08A0-4554-BFD0-58B328444FA8}"/>
                    </a:ext>
                  </a:extLst>
                </p14:cNvPr>
                <p14:cNvContentPartPr/>
                <p14:nvPr/>
              </p14:nvContentPartPr>
              <p14:xfrm>
                <a:off x="6482301" y="3755456"/>
                <a:ext cx="97200" cy="163800"/>
              </p14:xfrm>
            </p:contentPart>
          </mc:Choice>
          <mc:Fallback>
            <p:pic>
              <p:nvPicPr>
                <p:cNvPr id="19" name="잉크 18">
                  <a:extLst>
                    <a:ext uri="{FF2B5EF4-FFF2-40B4-BE49-F238E27FC236}">
                      <a16:creationId xmlns:a16="http://schemas.microsoft.com/office/drawing/2014/main" id="{CCA58DC8-08A0-4554-BFD0-58B328444FA8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6473661" y="3746456"/>
                  <a:ext cx="114840" cy="18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21" name="잉크 20">
                  <a:extLst>
                    <a:ext uri="{FF2B5EF4-FFF2-40B4-BE49-F238E27FC236}">
                      <a16:creationId xmlns:a16="http://schemas.microsoft.com/office/drawing/2014/main" id="{54EE1C4C-D3F3-4F04-B231-D6175857DF6A}"/>
                    </a:ext>
                  </a:extLst>
                </p14:cNvPr>
                <p14:cNvContentPartPr/>
                <p14:nvPr/>
              </p14:nvContentPartPr>
              <p14:xfrm>
                <a:off x="9669381" y="4162616"/>
                <a:ext cx="413640" cy="272880"/>
              </p14:xfrm>
            </p:contentPart>
          </mc:Choice>
          <mc:Fallback>
            <p:pic>
              <p:nvPicPr>
                <p:cNvPr id="21" name="잉크 20">
                  <a:extLst>
                    <a:ext uri="{FF2B5EF4-FFF2-40B4-BE49-F238E27FC236}">
                      <a16:creationId xmlns:a16="http://schemas.microsoft.com/office/drawing/2014/main" id="{54EE1C4C-D3F3-4F04-B231-D6175857DF6A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9660381" y="4153616"/>
                  <a:ext cx="431280" cy="2905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72213710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7F1CBADE-230C-69B9-C577-C8E86640E2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0072" y="0"/>
            <a:ext cx="8811855" cy="2876951"/>
          </a:xfrm>
          <a:prstGeom prst="rect">
            <a:avLst/>
          </a:prstGeom>
        </p:spPr>
      </p:pic>
      <p:grpSp>
        <p:nvGrpSpPr>
          <p:cNvPr id="7" name="그룹 6">
            <a:extLst>
              <a:ext uri="{FF2B5EF4-FFF2-40B4-BE49-F238E27FC236}">
                <a16:creationId xmlns:a16="http://schemas.microsoft.com/office/drawing/2014/main" id="{A2DEA36D-E40F-4603-9108-93A32086E16D}"/>
              </a:ext>
            </a:extLst>
          </p:cNvPr>
          <p:cNvGrpSpPr/>
          <p:nvPr/>
        </p:nvGrpSpPr>
        <p:grpSpPr>
          <a:xfrm>
            <a:off x="1571992" y="4065468"/>
            <a:ext cx="370800" cy="420120"/>
            <a:chOff x="1571992" y="4065468"/>
            <a:chExt cx="370800" cy="420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">
              <p14:nvContentPartPr>
                <p14:cNvPr id="3" name="잉크 2">
                  <a:extLst>
                    <a:ext uri="{FF2B5EF4-FFF2-40B4-BE49-F238E27FC236}">
                      <a16:creationId xmlns:a16="http://schemas.microsoft.com/office/drawing/2014/main" id="{97FC00BF-9D66-4B7E-8364-FB83AFA47D9E}"/>
                    </a:ext>
                  </a:extLst>
                </p14:cNvPr>
                <p14:cNvContentPartPr/>
                <p14:nvPr/>
              </p14:nvContentPartPr>
              <p14:xfrm>
                <a:off x="1571992" y="4065468"/>
                <a:ext cx="142560" cy="383400"/>
              </p14:xfrm>
            </p:contentPart>
          </mc:Choice>
          <mc:Fallback>
            <p:pic>
              <p:nvPicPr>
                <p:cNvPr id="3" name="잉크 2">
                  <a:extLst>
                    <a:ext uri="{FF2B5EF4-FFF2-40B4-BE49-F238E27FC236}">
                      <a16:creationId xmlns:a16="http://schemas.microsoft.com/office/drawing/2014/main" id="{97FC00BF-9D66-4B7E-8364-FB83AFA47D9E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563352" y="4056828"/>
                  <a:ext cx="160200" cy="40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">
              <p14:nvContentPartPr>
                <p14:cNvPr id="4" name="잉크 3">
                  <a:extLst>
                    <a:ext uri="{FF2B5EF4-FFF2-40B4-BE49-F238E27FC236}">
                      <a16:creationId xmlns:a16="http://schemas.microsoft.com/office/drawing/2014/main" id="{F9300E81-60DD-47FB-AF5F-29F761EAD2BB}"/>
                    </a:ext>
                  </a:extLst>
                </p14:cNvPr>
                <p14:cNvContentPartPr/>
                <p14:nvPr/>
              </p14:nvContentPartPr>
              <p14:xfrm>
                <a:off x="1706272" y="4073748"/>
                <a:ext cx="236520" cy="411840"/>
              </p14:xfrm>
            </p:contentPart>
          </mc:Choice>
          <mc:Fallback>
            <p:pic>
              <p:nvPicPr>
                <p:cNvPr id="4" name="잉크 3">
                  <a:extLst>
                    <a:ext uri="{FF2B5EF4-FFF2-40B4-BE49-F238E27FC236}">
                      <a16:creationId xmlns:a16="http://schemas.microsoft.com/office/drawing/2014/main" id="{F9300E81-60DD-47FB-AF5F-29F761EAD2BB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697272" y="4064748"/>
                  <a:ext cx="254160" cy="429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">
              <p14:nvContentPartPr>
                <p14:cNvPr id="6" name="잉크 5">
                  <a:extLst>
                    <a:ext uri="{FF2B5EF4-FFF2-40B4-BE49-F238E27FC236}">
                      <a16:creationId xmlns:a16="http://schemas.microsoft.com/office/drawing/2014/main" id="{98DFF383-3E7D-4C68-8820-6819E5553E82}"/>
                    </a:ext>
                  </a:extLst>
                </p14:cNvPr>
                <p14:cNvContentPartPr/>
                <p14:nvPr/>
              </p14:nvContentPartPr>
              <p14:xfrm>
                <a:off x="1673512" y="4232508"/>
                <a:ext cx="261360" cy="61920"/>
              </p14:xfrm>
            </p:contentPart>
          </mc:Choice>
          <mc:Fallback>
            <p:pic>
              <p:nvPicPr>
                <p:cNvPr id="6" name="잉크 5">
                  <a:extLst>
                    <a:ext uri="{FF2B5EF4-FFF2-40B4-BE49-F238E27FC236}">
                      <a16:creationId xmlns:a16="http://schemas.microsoft.com/office/drawing/2014/main" id="{98DFF383-3E7D-4C68-8820-6819E5553E82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664512" y="4223508"/>
                  <a:ext cx="279000" cy="79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0806B734-165D-4910-8C76-2DF4F2BE809B}"/>
              </a:ext>
            </a:extLst>
          </p:cNvPr>
          <p:cNvGrpSpPr/>
          <p:nvPr/>
        </p:nvGrpSpPr>
        <p:grpSpPr>
          <a:xfrm>
            <a:off x="1271752" y="4726788"/>
            <a:ext cx="623160" cy="351000"/>
            <a:chOff x="1271752" y="4726788"/>
            <a:chExt cx="623160" cy="3510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9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F1A1AE53-52E1-4194-BDFA-1D81AF1EA95E}"/>
                    </a:ext>
                  </a:extLst>
                </p14:cNvPr>
                <p14:cNvContentPartPr/>
                <p14:nvPr/>
              </p14:nvContentPartPr>
              <p14:xfrm>
                <a:off x="1271752" y="4775748"/>
                <a:ext cx="113400" cy="302040"/>
              </p14:xfrm>
            </p:contentPart>
          </mc:Choice>
          <mc:Fallback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F1A1AE53-52E1-4194-BDFA-1D81AF1EA95E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1263112" y="4766748"/>
                  <a:ext cx="131040" cy="31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">
              <p14:nvContentPartPr>
                <p14:cNvPr id="9" name="잉크 8">
                  <a:extLst>
                    <a:ext uri="{FF2B5EF4-FFF2-40B4-BE49-F238E27FC236}">
                      <a16:creationId xmlns:a16="http://schemas.microsoft.com/office/drawing/2014/main" id="{EF7C8EFE-4B1C-49F7-AADA-0D34FD8F7EE4}"/>
                    </a:ext>
                  </a:extLst>
                </p14:cNvPr>
                <p14:cNvContentPartPr/>
                <p14:nvPr/>
              </p14:nvContentPartPr>
              <p14:xfrm>
                <a:off x="1395952" y="4726788"/>
                <a:ext cx="188640" cy="239760"/>
              </p14:xfrm>
            </p:contentPart>
          </mc:Choice>
          <mc:Fallback>
            <p:pic>
              <p:nvPicPr>
                <p:cNvPr id="9" name="잉크 8">
                  <a:extLst>
                    <a:ext uri="{FF2B5EF4-FFF2-40B4-BE49-F238E27FC236}">
                      <a16:creationId xmlns:a16="http://schemas.microsoft.com/office/drawing/2014/main" id="{EF7C8EFE-4B1C-49F7-AADA-0D34FD8F7EE4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1387312" y="4717788"/>
                  <a:ext cx="206280" cy="25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61DF4E30-087D-495D-A3E8-A85367F9748A}"/>
                    </a:ext>
                  </a:extLst>
                </p14:cNvPr>
                <p14:cNvContentPartPr/>
                <p14:nvPr/>
              </p14:nvContentPartPr>
              <p14:xfrm>
                <a:off x="1379392" y="4865028"/>
                <a:ext cx="145440" cy="17280"/>
              </p14:xfrm>
            </p:contentPart>
          </mc:Choice>
          <mc:Fallback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61DF4E30-087D-495D-A3E8-A85367F9748A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1370752" y="4856388"/>
                  <a:ext cx="163080" cy="3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17AF21BB-D087-454B-AE58-E93658E8D01D}"/>
                    </a:ext>
                  </a:extLst>
                </p14:cNvPr>
                <p14:cNvContentPartPr/>
                <p14:nvPr/>
              </p14:nvContentPartPr>
              <p14:xfrm>
                <a:off x="1690072" y="4734708"/>
                <a:ext cx="204840" cy="340560"/>
              </p14:xfrm>
            </p:contentPart>
          </mc:Choice>
          <mc:Fallback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17AF21BB-D087-454B-AE58-E93658E8D01D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681072" y="4726068"/>
                  <a:ext cx="222480" cy="358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" name="그룹 24">
            <a:extLst>
              <a:ext uri="{FF2B5EF4-FFF2-40B4-BE49-F238E27FC236}">
                <a16:creationId xmlns:a16="http://schemas.microsoft.com/office/drawing/2014/main" id="{2C972B8F-0F33-4216-877B-BFCCA3B2EFA4}"/>
              </a:ext>
            </a:extLst>
          </p:cNvPr>
          <p:cNvGrpSpPr/>
          <p:nvPr/>
        </p:nvGrpSpPr>
        <p:grpSpPr>
          <a:xfrm>
            <a:off x="968992" y="5396388"/>
            <a:ext cx="1302840" cy="1099080"/>
            <a:chOff x="968992" y="5396388"/>
            <a:chExt cx="1302840" cy="10990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7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20471B28-B4C3-499D-9536-C059AEB95ADB}"/>
                    </a:ext>
                  </a:extLst>
                </p14:cNvPr>
                <p14:cNvContentPartPr/>
                <p14:nvPr/>
              </p14:nvContentPartPr>
              <p14:xfrm>
                <a:off x="968992" y="5396388"/>
                <a:ext cx="295920" cy="425880"/>
              </p14:xfrm>
            </p:contentPart>
          </mc:Choice>
          <mc:Fallback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20471B28-B4C3-499D-9536-C059AEB95ADB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960352" y="5387388"/>
                  <a:ext cx="313560" cy="443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7F1A3BAE-6059-479E-9424-B0A322282A50}"/>
                    </a:ext>
                  </a:extLst>
                </p14:cNvPr>
                <p14:cNvContentPartPr/>
                <p14:nvPr/>
              </p14:nvContentPartPr>
              <p14:xfrm>
                <a:off x="1167352" y="5494308"/>
                <a:ext cx="204480" cy="276840"/>
              </p14:xfrm>
            </p:contentPart>
          </mc:Choice>
          <mc:Fallback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7F1A3BAE-6059-479E-9424-B0A322282A50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1158712" y="5485668"/>
                  <a:ext cx="222120" cy="294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">
              <p14:nvContentPartPr>
                <p14:cNvPr id="15" name="잉크 14">
                  <a:extLst>
                    <a:ext uri="{FF2B5EF4-FFF2-40B4-BE49-F238E27FC236}">
                      <a16:creationId xmlns:a16="http://schemas.microsoft.com/office/drawing/2014/main" id="{30FAB278-EEE0-435C-A793-A1A497E37A79}"/>
                    </a:ext>
                  </a:extLst>
                </p14:cNvPr>
                <p14:cNvContentPartPr/>
                <p14:nvPr/>
              </p14:nvContentPartPr>
              <p14:xfrm>
                <a:off x="1175632" y="5624628"/>
                <a:ext cx="189720" cy="16560"/>
              </p14:xfrm>
            </p:contentPart>
          </mc:Choice>
          <mc:Fallback>
            <p:pic>
              <p:nvPicPr>
                <p:cNvPr id="15" name="잉크 14">
                  <a:extLst>
                    <a:ext uri="{FF2B5EF4-FFF2-40B4-BE49-F238E27FC236}">
                      <a16:creationId xmlns:a16="http://schemas.microsoft.com/office/drawing/2014/main" id="{30FAB278-EEE0-435C-A793-A1A497E37A79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1166632" y="5615988"/>
                  <a:ext cx="207360" cy="3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">
              <p14:nvContentPartPr>
                <p14:cNvPr id="17" name="잉크 16">
                  <a:extLst>
                    <a:ext uri="{FF2B5EF4-FFF2-40B4-BE49-F238E27FC236}">
                      <a16:creationId xmlns:a16="http://schemas.microsoft.com/office/drawing/2014/main" id="{5534544E-89E2-40D7-A65A-C4F86DFF72E5}"/>
                    </a:ext>
                  </a:extLst>
                </p14:cNvPr>
                <p14:cNvContentPartPr/>
                <p14:nvPr/>
              </p14:nvContentPartPr>
              <p14:xfrm>
                <a:off x="1444912" y="5412588"/>
                <a:ext cx="343080" cy="460080"/>
              </p14:xfrm>
            </p:contentPart>
          </mc:Choice>
          <mc:Fallback>
            <p:pic>
              <p:nvPicPr>
                <p:cNvPr id="17" name="잉크 16">
                  <a:extLst>
                    <a:ext uri="{FF2B5EF4-FFF2-40B4-BE49-F238E27FC236}">
                      <a16:creationId xmlns:a16="http://schemas.microsoft.com/office/drawing/2014/main" id="{5534544E-89E2-40D7-A65A-C4F86DFF72E5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1436272" y="5403948"/>
                  <a:ext cx="360720" cy="47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">
              <p14:nvContentPartPr>
                <p14:cNvPr id="18" name="잉크 17">
                  <a:extLst>
                    <a:ext uri="{FF2B5EF4-FFF2-40B4-BE49-F238E27FC236}">
                      <a16:creationId xmlns:a16="http://schemas.microsoft.com/office/drawing/2014/main" id="{15F8B391-C920-4839-B155-FDF139A2889B}"/>
                    </a:ext>
                  </a:extLst>
                </p14:cNvPr>
                <p14:cNvContentPartPr/>
                <p14:nvPr/>
              </p14:nvContentPartPr>
              <p14:xfrm>
                <a:off x="2039272" y="5437068"/>
                <a:ext cx="111240" cy="300960"/>
              </p14:xfrm>
            </p:contentPart>
          </mc:Choice>
          <mc:Fallback>
            <p:pic>
              <p:nvPicPr>
                <p:cNvPr id="18" name="잉크 17">
                  <a:extLst>
                    <a:ext uri="{FF2B5EF4-FFF2-40B4-BE49-F238E27FC236}">
                      <a16:creationId xmlns:a16="http://schemas.microsoft.com/office/drawing/2014/main" id="{15F8B391-C920-4839-B155-FDF139A2889B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2030632" y="5428428"/>
                  <a:ext cx="128880" cy="31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">
              <p14:nvContentPartPr>
                <p14:cNvPr id="19" name="잉크 18">
                  <a:extLst>
                    <a:ext uri="{FF2B5EF4-FFF2-40B4-BE49-F238E27FC236}">
                      <a16:creationId xmlns:a16="http://schemas.microsoft.com/office/drawing/2014/main" id="{87FD2412-AEC6-4857-AF76-5A72333C2F06}"/>
                    </a:ext>
                  </a:extLst>
                </p14:cNvPr>
                <p14:cNvContentPartPr/>
                <p14:nvPr/>
              </p14:nvContentPartPr>
              <p14:xfrm>
                <a:off x="1170232" y="6172188"/>
                <a:ext cx="193320" cy="323280"/>
              </p14:xfrm>
            </p:contentPart>
          </mc:Choice>
          <mc:Fallback>
            <p:pic>
              <p:nvPicPr>
                <p:cNvPr id="19" name="잉크 18">
                  <a:extLst>
                    <a:ext uri="{FF2B5EF4-FFF2-40B4-BE49-F238E27FC236}">
                      <a16:creationId xmlns:a16="http://schemas.microsoft.com/office/drawing/2014/main" id="{87FD2412-AEC6-4857-AF76-5A72333C2F06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1161232" y="6163188"/>
                  <a:ext cx="210960" cy="34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">
              <p14:nvContentPartPr>
                <p14:cNvPr id="20" name="잉크 19">
                  <a:extLst>
                    <a:ext uri="{FF2B5EF4-FFF2-40B4-BE49-F238E27FC236}">
                      <a16:creationId xmlns:a16="http://schemas.microsoft.com/office/drawing/2014/main" id="{0387B665-BEBE-4E73-A79E-F8A3A3D17744}"/>
                    </a:ext>
                  </a:extLst>
                </p14:cNvPr>
                <p14:cNvContentPartPr/>
                <p14:nvPr/>
              </p14:nvContentPartPr>
              <p14:xfrm>
                <a:off x="1355272" y="6090108"/>
                <a:ext cx="110880" cy="291960"/>
              </p14:xfrm>
            </p:contentPart>
          </mc:Choice>
          <mc:Fallback>
            <p:pic>
              <p:nvPicPr>
                <p:cNvPr id="20" name="잉크 19">
                  <a:extLst>
                    <a:ext uri="{FF2B5EF4-FFF2-40B4-BE49-F238E27FC236}">
                      <a16:creationId xmlns:a16="http://schemas.microsoft.com/office/drawing/2014/main" id="{0387B665-BEBE-4E73-A79E-F8A3A3D17744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1346272" y="6081468"/>
                  <a:ext cx="128520" cy="30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">
              <p14:nvContentPartPr>
                <p14:cNvPr id="21" name="잉크 20">
                  <a:extLst>
                    <a:ext uri="{FF2B5EF4-FFF2-40B4-BE49-F238E27FC236}">
                      <a16:creationId xmlns:a16="http://schemas.microsoft.com/office/drawing/2014/main" id="{8940A2B1-7E66-42F1-BB1E-82561396A3C2}"/>
                    </a:ext>
                  </a:extLst>
                </p14:cNvPr>
                <p14:cNvContentPartPr/>
                <p14:nvPr/>
              </p14:nvContentPartPr>
              <p14:xfrm>
                <a:off x="1265272" y="6253548"/>
                <a:ext cx="147600" cy="360"/>
              </p14:xfrm>
            </p:contentPart>
          </mc:Choice>
          <mc:Fallback>
            <p:pic>
              <p:nvPicPr>
                <p:cNvPr id="21" name="잉크 20">
                  <a:extLst>
                    <a:ext uri="{FF2B5EF4-FFF2-40B4-BE49-F238E27FC236}">
                      <a16:creationId xmlns:a16="http://schemas.microsoft.com/office/drawing/2014/main" id="{8940A2B1-7E66-42F1-BB1E-82561396A3C2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1256632" y="6244548"/>
                  <a:ext cx="16524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">
              <p14:nvContentPartPr>
                <p14:cNvPr id="22" name="잉크 21">
                  <a:extLst>
                    <a:ext uri="{FF2B5EF4-FFF2-40B4-BE49-F238E27FC236}">
                      <a16:creationId xmlns:a16="http://schemas.microsoft.com/office/drawing/2014/main" id="{FC13116F-1A7A-45DC-9941-BBB11D42F940}"/>
                    </a:ext>
                  </a:extLst>
                </p14:cNvPr>
                <p14:cNvContentPartPr/>
                <p14:nvPr/>
              </p14:nvContentPartPr>
              <p14:xfrm>
                <a:off x="1551112" y="6047268"/>
                <a:ext cx="190080" cy="357840"/>
              </p14:xfrm>
            </p:contentPart>
          </mc:Choice>
          <mc:Fallback>
            <p:pic>
              <p:nvPicPr>
                <p:cNvPr id="22" name="잉크 21">
                  <a:extLst>
                    <a:ext uri="{FF2B5EF4-FFF2-40B4-BE49-F238E27FC236}">
                      <a16:creationId xmlns:a16="http://schemas.microsoft.com/office/drawing/2014/main" id="{FC13116F-1A7A-45DC-9941-BBB11D42F940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1542472" y="6038628"/>
                  <a:ext cx="207720" cy="37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">
              <p14:nvContentPartPr>
                <p14:cNvPr id="23" name="잉크 22">
                  <a:extLst>
                    <a:ext uri="{FF2B5EF4-FFF2-40B4-BE49-F238E27FC236}">
                      <a16:creationId xmlns:a16="http://schemas.microsoft.com/office/drawing/2014/main" id="{ECFEE243-F484-45A1-B746-D324B583A2A6}"/>
                    </a:ext>
                  </a:extLst>
                </p14:cNvPr>
                <p14:cNvContentPartPr/>
                <p14:nvPr/>
              </p14:nvContentPartPr>
              <p14:xfrm>
                <a:off x="1839472" y="6016668"/>
                <a:ext cx="152640" cy="419760"/>
              </p14:xfrm>
            </p:contentPart>
          </mc:Choice>
          <mc:Fallback>
            <p:pic>
              <p:nvPicPr>
                <p:cNvPr id="23" name="잉크 22">
                  <a:extLst>
                    <a:ext uri="{FF2B5EF4-FFF2-40B4-BE49-F238E27FC236}">
                      <a16:creationId xmlns:a16="http://schemas.microsoft.com/office/drawing/2014/main" id="{ECFEE243-F484-45A1-B746-D324B583A2A6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1830832" y="6007668"/>
                  <a:ext cx="170280" cy="43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">
              <p14:nvContentPartPr>
                <p14:cNvPr id="24" name="잉크 23">
                  <a:extLst>
                    <a:ext uri="{FF2B5EF4-FFF2-40B4-BE49-F238E27FC236}">
                      <a16:creationId xmlns:a16="http://schemas.microsoft.com/office/drawing/2014/main" id="{30E7E622-9E7F-44CD-A07A-E47F8C87BCEB}"/>
                    </a:ext>
                  </a:extLst>
                </p14:cNvPr>
                <p14:cNvContentPartPr/>
                <p14:nvPr/>
              </p14:nvContentPartPr>
              <p14:xfrm>
                <a:off x="2073832" y="6047628"/>
                <a:ext cx="198000" cy="380160"/>
              </p14:xfrm>
            </p:contentPart>
          </mc:Choice>
          <mc:Fallback>
            <p:pic>
              <p:nvPicPr>
                <p:cNvPr id="24" name="잉크 23">
                  <a:extLst>
                    <a:ext uri="{FF2B5EF4-FFF2-40B4-BE49-F238E27FC236}">
                      <a16:creationId xmlns:a16="http://schemas.microsoft.com/office/drawing/2014/main" id="{30E7E622-9E7F-44CD-A07A-E47F8C87BCEB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2064832" y="6038628"/>
                  <a:ext cx="215640" cy="3978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39">
            <p14:nvContentPartPr>
              <p14:cNvPr id="26" name="잉크 25">
                <a:extLst>
                  <a:ext uri="{FF2B5EF4-FFF2-40B4-BE49-F238E27FC236}">
                    <a16:creationId xmlns:a16="http://schemas.microsoft.com/office/drawing/2014/main" id="{AA3B60C1-8F9A-4A3B-A0B6-9E831D37E1A3}"/>
                  </a:ext>
                </a:extLst>
              </p14:cNvPr>
              <p14:cNvContentPartPr/>
              <p14:nvPr/>
            </p14:nvContentPartPr>
            <p14:xfrm>
              <a:off x="2922621" y="2979656"/>
              <a:ext cx="13320" cy="453600"/>
            </p14:xfrm>
          </p:contentPart>
        </mc:Choice>
        <mc:Fallback>
          <p:pic>
            <p:nvPicPr>
              <p:cNvPr id="26" name="잉크 25">
                <a:extLst>
                  <a:ext uri="{FF2B5EF4-FFF2-40B4-BE49-F238E27FC236}">
                    <a16:creationId xmlns:a16="http://schemas.microsoft.com/office/drawing/2014/main" id="{AA3B60C1-8F9A-4A3B-A0B6-9E831D37E1A3}"/>
                  </a:ext>
                </a:extLst>
              </p:cNvPr>
              <p:cNvPicPr/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2913621" y="2971016"/>
                <a:ext cx="30960" cy="471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1">
            <p14:nvContentPartPr>
              <p14:cNvPr id="27" name="잉크 26">
                <a:extLst>
                  <a:ext uri="{FF2B5EF4-FFF2-40B4-BE49-F238E27FC236}">
                    <a16:creationId xmlns:a16="http://schemas.microsoft.com/office/drawing/2014/main" id="{CD2105DE-9677-4A7A-A2B7-EABD5C5849AA}"/>
                  </a:ext>
                </a:extLst>
              </p14:cNvPr>
              <p14:cNvContentPartPr/>
              <p14:nvPr/>
            </p14:nvContentPartPr>
            <p14:xfrm>
              <a:off x="3709581" y="3036896"/>
              <a:ext cx="266400" cy="338760"/>
            </p14:xfrm>
          </p:contentPart>
        </mc:Choice>
        <mc:Fallback>
          <p:pic>
            <p:nvPicPr>
              <p:cNvPr id="27" name="잉크 26">
                <a:extLst>
                  <a:ext uri="{FF2B5EF4-FFF2-40B4-BE49-F238E27FC236}">
                    <a16:creationId xmlns:a16="http://schemas.microsoft.com/office/drawing/2014/main" id="{CD2105DE-9677-4A7A-A2B7-EABD5C5849AA}"/>
                  </a:ext>
                </a:extLst>
              </p:cNvPr>
              <p:cNvPicPr/>
              <p:nvPr/>
            </p:nvPicPr>
            <p:blipFill>
              <a:blip r:embed="rId42"/>
              <a:stretch>
                <a:fillRect/>
              </a:stretch>
            </p:blipFill>
            <p:spPr>
              <a:xfrm>
                <a:off x="3700581" y="3027896"/>
                <a:ext cx="284040" cy="356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3">
            <p14:nvContentPartPr>
              <p14:cNvPr id="28" name="잉크 27">
                <a:extLst>
                  <a:ext uri="{FF2B5EF4-FFF2-40B4-BE49-F238E27FC236}">
                    <a16:creationId xmlns:a16="http://schemas.microsoft.com/office/drawing/2014/main" id="{D0D8ECD4-3674-4B8E-A5BB-27A8A2782EF2}"/>
                  </a:ext>
                </a:extLst>
              </p14:cNvPr>
              <p14:cNvContentPartPr/>
              <p14:nvPr/>
            </p14:nvContentPartPr>
            <p14:xfrm>
              <a:off x="4449381" y="3028616"/>
              <a:ext cx="204840" cy="289800"/>
            </p14:xfrm>
          </p:contentPart>
        </mc:Choice>
        <mc:Fallback>
          <p:pic>
            <p:nvPicPr>
              <p:cNvPr id="28" name="잉크 27">
                <a:extLst>
                  <a:ext uri="{FF2B5EF4-FFF2-40B4-BE49-F238E27FC236}">
                    <a16:creationId xmlns:a16="http://schemas.microsoft.com/office/drawing/2014/main" id="{D0D8ECD4-3674-4B8E-A5BB-27A8A2782EF2}"/>
                  </a:ext>
                </a:extLst>
              </p:cNvPr>
              <p:cNvPicPr/>
              <p:nvPr/>
            </p:nvPicPr>
            <p:blipFill>
              <a:blip r:embed="rId44"/>
              <a:stretch>
                <a:fillRect/>
              </a:stretch>
            </p:blipFill>
            <p:spPr>
              <a:xfrm>
                <a:off x="4440381" y="3019976"/>
                <a:ext cx="222480" cy="307440"/>
              </a:xfrm>
              <a:prstGeom prst="rect">
                <a:avLst/>
              </a:prstGeom>
            </p:spPr>
          </p:pic>
        </mc:Fallback>
      </mc:AlternateContent>
      <p:grpSp>
        <p:nvGrpSpPr>
          <p:cNvPr id="34" name="그룹 33">
            <a:extLst>
              <a:ext uri="{FF2B5EF4-FFF2-40B4-BE49-F238E27FC236}">
                <a16:creationId xmlns:a16="http://schemas.microsoft.com/office/drawing/2014/main" id="{D351B71B-8B54-4A24-8386-2FE9DB839E4A}"/>
              </a:ext>
            </a:extLst>
          </p:cNvPr>
          <p:cNvGrpSpPr/>
          <p:nvPr/>
        </p:nvGrpSpPr>
        <p:grpSpPr>
          <a:xfrm>
            <a:off x="5427501" y="2987936"/>
            <a:ext cx="299880" cy="330840"/>
            <a:chOff x="5427501" y="2987936"/>
            <a:chExt cx="299880" cy="3308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5">
              <p14:nvContentPartPr>
                <p14:cNvPr id="29" name="잉크 28">
                  <a:extLst>
                    <a:ext uri="{FF2B5EF4-FFF2-40B4-BE49-F238E27FC236}">
                      <a16:creationId xmlns:a16="http://schemas.microsoft.com/office/drawing/2014/main" id="{4DA02118-01DF-45CB-9C5D-CE496B47D373}"/>
                    </a:ext>
                  </a:extLst>
                </p14:cNvPr>
                <p14:cNvContentPartPr/>
                <p14:nvPr/>
              </p14:nvContentPartPr>
              <p14:xfrm>
                <a:off x="5427501" y="2987936"/>
                <a:ext cx="299880" cy="147960"/>
              </p14:xfrm>
            </p:contentPart>
          </mc:Choice>
          <mc:Fallback>
            <p:pic>
              <p:nvPicPr>
                <p:cNvPr id="29" name="잉크 28">
                  <a:extLst>
                    <a:ext uri="{FF2B5EF4-FFF2-40B4-BE49-F238E27FC236}">
                      <a16:creationId xmlns:a16="http://schemas.microsoft.com/office/drawing/2014/main" id="{4DA02118-01DF-45CB-9C5D-CE496B47D373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5418861" y="2978936"/>
                  <a:ext cx="317520" cy="16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7">
              <p14:nvContentPartPr>
                <p14:cNvPr id="30" name="잉크 29">
                  <a:extLst>
                    <a:ext uri="{FF2B5EF4-FFF2-40B4-BE49-F238E27FC236}">
                      <a16:creationId xmlns:a16="http://schemas.microsoft.com/office/drawing/2014/main" id="{CF72F322-834A-4F59-AE17-C0F6AE263B86}"/>
                    </a:ext>
                  </a:extLst>
                </p14:cNvPr>
                <p14:cNvContentPartPr/>
                <p14:nvPr/>
              </p14:nvContentPartPr>
              <p14:xfrm>
                <a:off x="5525421" y="2995856"/>
                <a:ext cx="75600" cy="322920"/>
              </p14:xfrm>
            </p:contentPart>
          </mc:Choice>
          <mc:Fallback>
            <p:pic>
              <p:nvPicPr>
                <p:cNvPr id="30" name="잉크 29">
                  <a:extLst>
                    <a:ext uri="{FF2B5EF4-FFF2-40B4-BE49-F238E27FC236}">
                      <a16:creationId xmlns:a16="http://schemas.microsoft.com/office/drawing/2014/main" id="{CF72F322-834A-4F59-AE17-C0F6AE263B86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5516421" y="2987216"/>
                  <a:ext cx="93240" cy="340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4FCD2D54-384A-4935-B75B-950E177C4AE5}"/>
              </a:ext>
            </a:extLst>
          </p:cNvPr>
          <p:cNvGrpSpPr/>
          <p:nvPr/>
        </p:nvGrpSpPr>
        <p:grpSpPr>
          <a:xfrm>
            <a:off x="6344781" y="2979656"/>
            <a:ext cx="246600" cy="231840"/>
            <a:chOff x="6344781" y="2979656"/>
            <a:chExt cx="246600" cy="2318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9">
              <p14:nvContentPartPr>
                <p14:cNvPr id="31" name="잉크 30">
                  <a:extLst>
                    <a:ext uri="{FF2B5EF4-FFF2-40B4-BE49-F238E27FC236}">
                      <a16:creationId xmlns:a16="http://schemas.microsoft.com/office/drawing/2014/main" id="{E28D5B42-0613-47E2-A24E-53FF1A2F80A1}"/>
                    </a:ext>
                  </a:extLst>
                </p14:cNvPr>
                <p14:cNvContentPartPr/>
                <p14:nvPr/>
              </p14:nvContentPartPr>
              <p14:xfrm>
                <a:off x="6416781" y="2979656"/>
                <a:ext cx="90000" cy="360"/>
              </p14:xfrm>
            </p:contentPart>
          </mc:Choice>
          <mc:Fallback>
            <p:pic>
              <p:nvPicPr>
                <p:cNvPr id="31" name="잉크 30">
                  <a:extLst>
                    <a:ext uri="{FF2B5EF4-FFF2-40B4-BE49-F238E27FC236}">
                      <a16:creationId xmlns:a16="http://schemas.microsoft.com/office/drawing/2014/main" id="{E28D5B42-0613-47E2-A24E-53FF1A2F80A1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6408141" y="2971016"/>
                  <a:ext cx="10764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1">
              <p14:nvContentPartPr>
                <p14:cNvPr id="32" name="잉크 31">
                  <a:extLst>
                    <a:ext uri="{FF2B5EF4-FFF2-40B4-BE49-F238E27FC236}">
                      <a16:creationId xmlns:a16="http://schemas.microsoft.com/office/drawing/2014/main" id="{449473E8-1E55-4409-9BDD-C88825D6A670}"/>
                    </a:ext>
                  </a:extLst>
                </p14:cNvPr>
                <p14:cNvContentPartPr/>
                <p14:nvPr/>
              </p14:nvContentPartPr>
              <p14:xfrm>
                <a:off x="6344781" y="2987936"/>
                <a:ext cx="246600" cy="223560"/>
              </p14:xfrm>
            </p:contentPart>
          </mc:Choice>
          <mc:Fallback>
            <p:pic>
              <p:nvPicPr>
                <p:cNvPr id="32" name="잉크 31">
                  <a:extLst>
                    <a:ext uri="{FF2B5EF4-FFF2-40B4-BE49-F238E27FC236}">
                      <a16:creationId xmlns:a16="http://schemas.microsoft.com/office/drawing/2014/main" id="{449473E8-1E55-4409-9BDD-C88825D6A670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6335781" y="2978936"/>
                  <a:ext cx="264240" cy="2412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53">
            <p14:nvContentPartPr>
              <p14:cNvPr id="35" name="잉크 34">
                <a:extLst>
                  <a:ext uri="{FF2B5EF4-FFF2-40B4-BE49-F238E27FC236}">
                    <a16:creationId xmlns:a16="http://schemas.microsoft.com/office/drawing/2014/main" id="{D4FF0268-F976-4D25-8029-520F263614E2}"/>
                  </a:ext>
                </a:extLst>
              </p14:cNvPr>
              <p14:cNvContentPartPr/>
              <p14:nvPr/>
            </p14:nvContentPartPr>
            <p14:xfrm>
              <a:off x="522141" y="2848976"/>
              <a:ext cx="360" cy="360"/>
            </p14:xfrm>
          </p:contentPart>
        </mc:Choice>
        <mc:Fallback>
          <p:pic>
            <p:nvPicPr>
              <p:cNvPr id="35" name="잉크 34">
                <a:extLst>
                  <a:ext uri="{FF2B5EF4-FFF2-40B4-BE49-F238E27FC236}">
                    <a16:creationId xmlns:a16="http://schemas.microsoft.com/office/drawing/2014/main" id="{D4FF0268-F976-4D25-8029-520F263614E2}"/>
                  </a:ext>
                </a:extLst>
              </p:cNvPr>
              <p:cNvPicPr/>
              <p:nvPr/>
            </p:nvPicPr>
            <p:blipFill>
              <a:blip r:embed="rId54"/>
              <a:stretch>
                <a:fillRect/>
              </a:stretch>
            </p:blipFill>
            <p:spPr>
              <a:xfrm>
                <a:off x="513501" y="2839976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5">
            <p14:nvContentPartPr>
              <p14:cNvPr id="36" name="잉크 35">
                <a:extLst>
                  <a:ext uri="{FF2B5EF4-FFF2-40B4-BE49-F238E27FC236}">
                    <a16:creationId xmlns:a16="http://schemas.microsoft.com/office/drawing/2014/main" id="{E2D47C8E-9755-4ABE-8F20-8E88F9B9BE37}"/>
                  </a:ext>
                </a:extLst>
              </p14:cNvPr>
              <p14:cNvContentPartPr/>
              <p14:nvPr/>
            </p14:nvContentPartPr>
            <p14:xfrm>
              <a:off x="1680981" y="3537296"/>
              <a:ext cx="263880" cy="269280"/>
            </p14:xfrm>
          </p:contentPart>
        </mc:Choice>
        <mc:Fallback>
          <p:pic>
            <p:nvPicPr>
              <p:cNvPr id="36" name="잉크 35">
                <a:extLst>
                  <a:ext uri="{FF2B5EF4-FFF2-40B4-BE49-F238E27FC236}">
                    <a16:creationId xmlns:a16="http://schemas.microsoft.com/office/drawing/2014/main" id="{E2D47C8E-9755-4ABE-8F20-8E88F9B9BE37}"/>
                  </a:ext>
                </a:extLst>
              </p:cNvPr>
              <p:cNvPicPr/>
              <p:nvPr/>
            </p:nvPicPr>
            <p:blipFill>
              <a:blip r:embed="rId56"/>
              <a:stretch>
                <a:fillRect/>
              </a:stretch>
            </p:blipFill>
            <p:spPr>
              <a:xfrm>
                <a:off x="1671981" y="3528656"/>
                <a:ext cx="281520" cy="286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7">
            <p14:nvContentPartPr>
              <p14:cNvPr id="37" name="잉크 36">
                <a:extLst>
                  <a:ext uri="{FF2B5EF4-FFF2-40B4-BE49-F238E27FC236}">
                    <a16:creationId xmlns:a16="http://schemas.microsoft.com/office/drawing/2014/main" id="{9096C964-5A3B-41E2-84A8-B8BA64CA5CAA}"/>
                  </a:ext>
                </a:extLst>
              </p14:cNvPr>
              <p14:cNvContentPartPr/>
              <p14:nvPr/>
            </p14:nvContentPartPr>
            <p14:xfrm>
              <a:off x="2301621" y="3102056"/>
              <a:ext cx="261720" cy="221400"/>
            </p14:xfrm>
          </p:contentPart>
        </mc:Choice>
        <mc:Fallback>
          <p:pic>
            <p:nvPicPr>
              <p:cNvPr id="37" name="잉크 36">
                <a:extLst>
                  <a:ext uri="{FF2B5EF4-FFF2-40B4-BE49-F238E27FC236}">
                    <a16:creationId xmlns:a16="http://schemas.microsoft.com/office/drawing/2014/main" id="{9096C964-5A3B-41E2-84A8-B8BA64CA5CAA}"/>
                  </a:ext>
                </a:extLst>
              </p:cNvPr>
              <p:cNvPicPr/>
              <p:nvPr/>
            </p:nvPicPr>
            <p:blipFill>
              <a:blip r:embed="rId58"/>
              <a:stretch>
                <a:fillRect/>
              </a:stretch>
            </p:blipFill>
            <p:spPr>
              <a:xfrm>
                <a:off x="2292621" y="3093056"/>
                <a:ext cx="279360" cy="239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9">
            <p14:nvContentPartPr>
              <p14:cNvPr id="38" name="잉크 37">
                <a:extLst>
                  <a:ext uri="{FF2B5EF4-FFF2-40B4-BE49-F238E27FC236}">
                    <a16:creationId xmlns:a16="http://schemas.microsoft.com/office/drawing/2014/main" id="{9FDC2FDF-7226-4BDB-86FA-EBB51658577D}"/>
                  </a:ext>
                </a:extLst>
              </p14:cNvPr>
              <p14:cNvContentPartPr/>
              <p14:nvPr/>
            </p14:nvContentPartPr>
            <p14:xfrm>
              <a:off x="2376501" y="3624416"/>
              <a:ext cx="222120" cy="271440"/>
            </p14:xfrm>
          </p:contentPart>
        </mc:Choice>
        <mc:Fallback>
          <p:pic>
            <p:nvPicPr>
              <p:cNvPr id="38" name="잉크 37">
                <a:extLst>
                  <a:ext uri="{FF2B5EF4-FFF2-40B4-BE49-F238E27FC236}">
                    <a16:creationId xmlns:a16="http://schemas.microsoft.com/office/drawing/2014/main" id="{9FDC2FDF-7226-4BDB-86FA-EBB51658577D}"/>
                  </a:ext>
                </a:extLst>
              </p:cNvPr>
              <p:cNvPicPr/>
              <p:nvPr/>
            </p:nvPicPr>
            <p:blipFill>
              <a:blip r:embed="rId60"/>
              <a:stretch>
                <a:fillRect/>
              </a:stretch>
            </p:blipFill>
            <p:spPr>
              <a:xfrm>
                <a:off x="2367501" y="3615776"/>
                <a:ext cx="239760" cy="289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1">
            <p14:nvContentPartPr>
              <p14:cNvPr id="39" name="잉크 38">
                <a:extLst>
                  <a:ext uri="{FF2B5EF4-FFF2-40B4-BE49-F238E27FC236}">
                    <a16:creationId xmlns:a16="http://schemas.microsoft.com/office/drawing/2014/main" id="{B7490361-5419-4F4A-8F19-B215FE516FB0}"/>
                  </a:ext>
                </a:extLst>
              </p14:cNvPr>
              <p14:cNvContentPartPr/>
              <p14:nvPr/>
            </p14:nvContentPartPr>
            <p14:xfrm>
              <a:off x="3004701" y="3635216"/>
              <a:ext cx="190800" cy="228600"/>
            </p14:xfrm>
          </p:contentPart>
        </mc:Choice>
        <mc:Fallback>
          <p:pic>
            <p:nvPicPr>
              <p:cNvPr id="39" name="잉크 38">
                <a:extLst>
                  <a:ext uri="{FF2B5EF4-FFF2-40B4-BE49-F238E27FC236}">
                    <a16:creationId xmlns:a16="http://schemas.microsoft.com/office/drawing/2014/main" id="{B7490361-5419-4F4A-8F19-B215FE516FB0}"/>
                  </a:ext>
                </a:extLst>
              </p:cNvPr>
              <p:cNvPicPr/>
              <p:nvPr/>
            </p:nvPicPr>
            <p:blipFill>
              <a:blip r:embed="rId62"/>
              <a:stretch>
                <a:fillRect/>
              </a:stretch>
            </p:blipFill>
            <p:spPr>
              <a:xfrm>
                <a:off x="2996061" y="3626576"/>
                <a:ext cx="208440" cy="246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3">
            <p14:nvContentPartPr>
              <p14:cNvPr id="40" name="잉크 39">
                <a:extLst>
                  <a:ext uri="{FF2B5EF4-FFF2-40B4-BE49-F238E27FC236}">
                    <a16:creationId xmlns:a16="http://schemas.microsoft.com/office/drawing/2014/main" id="{715C2520-9C0E-46A8-9B9D-7389479A9003}"/>
                  </a:ext>
                </a:extLst>
              </p14:cNvPr>
              <p14:cNvContentPartPr/>
              <p14:nvPr/>
            </p14:nvContentPartPr>
            <p14:xfrm>
              <a:off x="3754221" y="3595256"/>
              <a:ext cx="266760" cy="259920"/>
            </p14:xfrm>
          </p:contentPart>
        </mc:Choice>
        <mc:Fallback>
          <p:pic>
            <p:nvPicPr>
              <p:cNvPr id="40" name="잉크 39">
                <a:extLst>
                  <a:ext uri="{FF2B5EF4-FFF2-40B4-BE49-F238E27FC236}">
                    <a16:creationId xmlns:a16="http://schemas.microsoft.com/office/drawing/2014/main" id="{715C2520-9C0E-46A8-9B9D-7389479A9003}"/>
                  </a:ext>
                </a:extLst>
              </p:cNvPr>
              <p:cNvPicPr/>
              <p:nvPr/>
            </p:nvPicPr>
            <p:blipFill>
              <a:blip r:embed="rId64"/>
              <a:stretch>
                <a:fillRect/>
              </a:stretch>
            </p:blipFill>
            <p:spPr>
              <a:xfrm>
                <a:off x="3745581" y="3586616"/>
                <a:ext cx="284400" cy="277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5">
            <p14:nvContentPartPr>
              <p14:cNvPr id="41" name="잉크 40">
                <a:extLst>
                  <a:ext uri="{FF2B5EF4-FFF2-40B4-BE49-F238E27FC236}">
                    <a16:creationId xmlns:a16="http://schemas.microsoft.com/office/drawing/2014/main" id="{A2201438-A055-435A-8D5B-5C727EF1DF31}"/>
                  </a:ext>
                </a:extLst>
              </p14:cNvPr>
              <p14:cNvContentPartPr/>
              <p14:nvPr/>
            </p14:nvContentPartPr>
            <p14:xfrm>
              <a:off x="4488621" y="3567536"/>
              <a:ext cx="233280" cy="296280"/>
            </p14:xfrm>
          </p:contentPart>
        </mc:Choice>
        <mc:Fallback>
          <p:pic>
            <p:nvPicPr>
              <p:cNvPr id="41" name="잉크 40">
                <a:extLst>
                  <a:ext uri="{FF2B5EF4-FFF2-40B4-BE49-F238E27FC236}">
                    <a16:creationId xmlns:a16="http://schemas.microsoft.com/office/drawing/2014/main" id="{A2201438-A055-435A-8D5B-5C727EF1DF31}"/>
                  </a:ext>
                </a:extLst>
              </p:cNvPr>
              <p:cNvPicPr/>
              <p:nvPr/>
            </p:nvPicPr>
            <p:blipFill>
              <a:blip r:embed="rId66"/>
              <a:stretch>
                <a:fillRect/>
              </a:stretch>
            </p:blipFill>
            <p:spPr>
              <a:xfrm>
                <a:off x="4479981" y="3558896"/>
                <a:ext cx="250920" cy="313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7">
            <p14:nvContentPartPr>
              <p14:cNvPr id="42" name="잉크 41">
                <a:extLst>
                  <a:ext uri="{FF2B5EF4-FFF2-40B4-BE49-F238E27FC236}">
                    <a16:creationId xmlns:a16="http://schemas.microsoft.com/office/drawing/2014/main" id="{5655F6D1-4371-44DA-B3C9-4F860A3EB118}"/>
                  </a:ext>
                </a:extLst>
              </p14:cNvPr>
              <p14:cNvContentPartPr/>
              <p14:nvPr/>
            </p14:nvContentPartPr>
            <p14:xfrm>
              <a:off x="5431461" y="3511736"/>
              <a:ext cx="272880" cy="354240"/>
            </p14:xfrm>
          </p:contentPart>
        </mc:Choice>
        <mc:Fallback>
          <p:pic>
            <p:nvPicPr>
              <p:cNvPr id="42" name="잉크 41">
                <a:extLst>
                  <a:ext uri="{FF2B5EF4-FFF2-40B4-BE49-F238E27FC236}">
                    <a16:creationId xmlns:a16="http://schemas.microsoft.com/office/drawing/2014/main" id="{5655F6D1-4371-44DA-B3C9-4F860A3EB118}"/>
                  </a:ext>
                </a:extLst>
              </p:cNvPr>
              <p:cNvPicPr/>
              <p:nvPr/>
            </p:nvPicPr>
            <p:blipFill>
              <a:blip r:embed="rId68"/>
              <a:stretch>
                <a:fillRect/>
              </a:stretch>
            </p:blipFill>
            <p:spPr>
              <a:xfrm>
                <a:off x="5422821" y="3502736"/>
                <a:ext cx="290520" cy="371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9">
            <p14:nvContentPartPr>
              <p14:cNvPr id="43" name="잉크 42">
                <a:extLst>
                  <a:ext uri="{FF2B5EF4-FFF2-40B4-BE49-F238E27FC236}">
                    <a16:creationId xmlns:a16="http://schemas.microsoft.com/office/drawing/2014/main" id="{15AAC63A-A1CA-484B-BD0D-DB5FC61A5BAF}"/>
                  </a:ext>
                </a:extLst>
              </p14:cNvPr>
              <p14:cNvContentPartPr/>
              <p14:nvPr/>
            </p14:nvContentPartPr>
            <p14:xfrm>
              <a:off x="6277101" y="3493736"/>
              <a:ext cx="257400" cy="329760"/>
            </p14:xfrm>
          </p:contentPart>
        </mc:Choice>
        <mc:Fallback>
          <p:pic>
            <p:nvPicPr>
              <p:cNvPr id="43" name="잉크 42">
                <a:extLst>
                  <a:ext uri="{FF2B5EF4-FFF2-40B4-BE49-F238E27FC236}">
                    <a16:creationId xmlns:a16="http://schemas.microsoft.com/office/drawing/2014/main" id="{15AAC63A-A1CA-484B-BD0D-DB5FC61A5BAF}"/>
                  </a:ext>
                </a:extLst>
              </p:cNvPr>
              <p:cNvPicPr/>
              <p:nvPr/>
            </p:nvPicPr>
            <p:blipFill>
              <a:blip r:embed="rId70"/>
              <a:stretch>
                <a:fillRect/>
              </a:stretch>
            </p:blipFill>
            <p:spPr>
              <a:xfrm>
                <a:off x="6268101" y="3485096"/>
                <a:ext cx="275040" cy="347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1">
            <p14:nvContentPartPr>
              <p14:cNvPr id="44" name="잉크 43">
                <a:extLst>
                  <a:ext uri="{FF2B5EF4-FFF2-40B4-BE49-F238E27FC236}">
                    <a16:creationId xmlns:a16="http://schemas.microsoft.com/office/drawing/2014/main" id="{F873B840-3681-4D46-B2F0-B74FE51CD8D5}"/>
                  </a:ext>
                </a:extLst>
              </p14:cNvPr>
              <p14:cNvContentPartPr/>
              <p14:nvPr/>
            </p14:nvContentPartPr>
            <p14:xfrm>
              <a:off x="2398821" y="4195016"/>
              <a:ext cx="156960" cy="205200"/>
            </p14:xfrm>
          </p:contentPart>
        </mc:Choice>
        <mc:Fallback>
          <p:pic>
            <p:nvPicPr>
              <p:cNvPr id="44" name="잉크 43">
                <a:extLst>
                  <a:ext uri="{FF2B5EF4-FFF2-40B4-BE49-F238E27FC236}">
                    <a16:creationId xmlns:a16="http://schemas.microsoft.com/office/drawing/2014/main" id="{F873B840-3681-4D46-B2F0-B74FE51CD8D5}"/>
                  </a:ext>
                </a:extLst>
              </p:cNvPr>
              <p:cNvPicPr/>
              <p:nvPr/>
            </p:nvPicPr>
            <p:blipFill>
              <a:blip r:embed="rId72"/>
              <a:stretch>
                <a:fillRect/>
              </a:stretch>
            </p:blipFill>
            <p:spPr>
              <a:xfrm>
                <a:off x="2390181" y="4186016"/>
                <a:ext cx="174600" cy="222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3">
            <p14:nvContentPartPr>
              <p14:cNvPr id="45" name="잉크 44">
                <a:extLst>
                  <a:ext uri="{FF2B5EF4-FFF2-40B4-BE49-F238E27FC236}">
                    <a16:creationId xmlns:a16="http://schemas.microsoft.com/office/drawing/2014/main" id="{F8A627B7-A35D-4A4C-B82C-EC7DBB7DAA4D}"/>
                  </a:ext>
                </a:extLst>
              </p14:cNvPr>
              <p14:cNvContentPartPr/>
              <p14:nvPr/>
            </p14:nvContentPartPr>
            <p14:xfrm>
              <a:off x="2358141" y="4768496"/>
              <a:ext cx="167760" cy="156600"/>
            </p14:xfrm>
          </p:contentPart>
        </mc:Choice>
        <mc:Fallback>
          <p:pic>
            <p:nvPicPr>
              <p:cNvPr id="45" name="잉크 44">
                <a:extLst>
                  <a:ext uri="{FF2B5EF4-FFF2-40B4-BE49-F238E27FC236}">
                    <a16:creationId xmlns:a16="http://schemas.microsoft.com/office/drawing/2014/main" id="{F8A627B7-A35D-4A4C-B82C-EC7DBB7DAA4D}"/>
                  </a:ext>
                </a:extLst>
              </p:cNvPr>
              <p:cNvPicPr/>
              <p:nvPr/>
            </p:nvPicPr>
            <p:blipFill>
              <a:blip r:embed="rId74"/>
              <a:stretch>
                <a:fillRect/>
              </a:stretch>
            </p:blipFill>
            <p:spPr>
              <a:xfrm>
                <a:off x="2349141" y="4759856"/>
                <a:ext cx="185400" cy="174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5">
            <p14:nvContentPartPr>
              <p14:cNvPr id="46" name="잉크 45">
                <a:extLst>
                  <a:ext uri="{FF2B5EF4-FFF2-40B4-BE49-F238E27FC236}">
                    <a16:creationId xmlns:a16="http://schemas.microsoft.com/office/drawing/2014/main" id="{DDC04304-88B4-4417-BC6B-F2C6F75B4185}"/>
                  </a:ext>
                </a:extLst>
              </p14:cNvPr>
              <p14:cNvContentPartPr/>
              <p14:nvPr/>
            </p14:nvContentPartPr>
            <p14:xfrm>
              <a:off x="2405661" y="5380496"/>
              <a:ext cx="158040" cy="221760"/>
            </p14:xfrm>
          </p:contentPart>
        </mc:Choice>
        <mc:Fallback>
          <p:pic>
            <p:nvPicPr>
              <p:cNvPr id="46" name="잉크 45">
                <a:extLst>
                  <a:ext uri="{FF2B5EF4-FFF2-40B4-BE49-F238E27FC236}">
                    <a16:creationId xmlns:a16="http://schemas.microsoft.com/office/drawing/2014/main" id="{DDC04304-88B4-4417-BC6B-F2C6F75B4185}"/>
                  </a:ext>
                </a:extLst>
              </p:cNvPr>
              <p:cNvPicPr/>
              <p:nvPr/>
            </p:nvPicPr>
            <p:blipFill>
              <a:blip r:embed="rId76"/>
              <a:stretch>
                <a:fillRect/>
              </a:stretch>
            </p:blipFill>
            <p:spPr>
              <a:xfrm>
                <a:off x="2396661" y="5371856"/>
                <a:ext cx="175680" cy="239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7">
            <p14:nvContentPartPr>
              <p14:cNvPr id="47" name="잉크 46">
                <a:extLst>
                  <a:ext uri="{FF2B5EF4-FFF2-40B4-BE49-F238E27FC236}">
                    <a16:creationId xmlns:a16="http://schemas.microsoft.com/office/drawing/2014/main" id="{DEC54D74-F119-4F0C-BFF5-46276875834E}"/>
                  </a:ext>
                </a:extLst>
              </p14:cNvPr>
              <p14:cNvContentPartPr/>
              <p14:nvPr/>
            </p14:nvContentPartPr>
            <p14:xfrm>
              <a:off x="2349861" y="5938136"/>
              <a:ext cx="278280" cy="334080"/>
            </p14:xfrm>
          </p:contentPart>
        </mc:Choice>
        <mc:Fallback>
          <p:pic>
            <p:nvPicPr>
              <p:cNvPr id="47" name="잉크 46">
                <a:extLst>
                  <a:ext uri="{FF2B5EF4-FFF2-40B4-BE49-F238E27FC236}">
                    <a16:creationId xmlns:a16="http://schemas.microsoft.com/office/drawing/2014/main" id="{DEC54D74-F119-4F0C-BFF5-46276875834E}"/>
                  </a:ext>
                </a:extLst>
              </p:cNvPr>
              <p:cNvPicPr/>
              <p:nvPr/>
            </p:nvPicPr>
            <p:blipFill>
              <a:blip r:embed="rId78"/>
              <a:stretch>
                <a:fillRect/>
              </a:stretch>
            </p:blipFill>
            <p:spPr>
              <a:xfrm>
                <a:off x="2340861" y="5929136"/>
                <a:ext cx="295920" cy="351720"/>
              </a:xfrm>
              <a:prstGeom prst="rect">
                <a:avLst/>
              </a:prstGeom>
            </p:spPr>
          </p:pic>
        </mc:Fallback>
      </mc:AlternateContent>
      <p:grpSp>
        <p:nvGrpSpPr>
          <p:cNvPr id="50" name="그룹 49">
            <a:extLst>
              <a:ext uri="{FF2B5EF4-FFF2-40B4-BE49-F238E27FC236}">
                <a16:creationId xmlns:a16="http://schemas.microsoft.com/office/drawing/2014/main" id="{B17CCB27-A7D0-402A-8BF8-65F49A380E17}"/>
              </a:ext>
            </a:extLst>
          </p:cNvPr>
          <p:cNvGrpSpPr/>
          <p:nvPr/>
        </p:nvGrpSpPr>
        <p:grpSpPr>
          <a:xfrm>
            <a:off x="2972301" y="4089176"/>
            <a:ext cx="467640" cy="357840"/>
            <a:chOff x="2972301" y="4089176"/>
            <a:chExt cx="467640" cy="3578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79">
              <p14:nvContentPartPr>
                <p14:cNvPr id="48" name="잉크 47">
                  <a:extLst>
                    <a:ext uri="{FF2B5EF4-FFF2-40B4-BE49-F238E27FC236}">
                      <a16:creationId xmlns:a16="http://schemas.microsoft.com/office/drawing/2014/main" id="{4B2DF95C-DFD8-4B50-B7B0-DD2252E152B0}"/>
                    </a:ext>
                  </a:extLst>
                </p14:cNvPr>
                <p14:cNvContentPartPr/>
                <p14:nvPr/>
              </p14:nvContentPartPr>
              <p14:xfrm>
                <a:off x="2972301" y="4089176"/>
                <a:ext cx="163440" cy="357840"/>
              </p14:xfrm>
            </p:contentPart>
          </mc:Choice>
          <mc:Fallback>
            <p:pic>
              <p:nvPicPr>
                <p:cNvPr id="48" name="잉크 47">
                  <a:extLst>
                    <a:ext uri="{FF2B5EF4-FFF2-40B4-BE49-F238E27FC236}">
                      <a16:creationId xmlns:a16="http://schemas.microsoft.com/office/drawing/2014/main" id="{4B2DF95C-DFD8-4B50-B7B0-DD2252E152B0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2963661" y="4080536"/>
                  <a:ext cx="181080" cy="37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1">
              <p14:nvContentPartPr>
                <p14:cNvPr id="49" name="잉크 48">
                  <a:extLst>
                    <a:ext uri="{FF2B5EF4-FFF2-40B4-BE49-F238E27FC236}">
                      <a16:creationId xmlns:a16="http://schemas.microsoft.com/office/drawing/2014/main" id="{A623EE22-284D-47A3-A93E-887EB4C81238}"/>
                    </a:ext>
                  </a:extLst>
                </p14:cNvPr>
                <p14:cNvContentPartPr/>
                <p14:nvPr/>
              </p14:nvContentPartPr>
              <p14:xfrm>
                <a:off x="3249501" y="4122656"/>
                <a:ext cx="190440" cy="230040"/>
              </p14:xfrm>
            </p:contentPart>
          </mc:Choice>
          <mc:Fallback>
            <p:pic>
              <p:nvPicPr>
                <p:cNvPr id="49" name="잉크 48">
                  <a:extLst>
                    <a:ext uri="{FF2B5EF4-FFF2-40B4-BE49-F238E27FC236}">
                      <a16:creationId xmlns:a16="http://schemas.microsoft.com/office/drawing/2014/main" id="{A623EE22-284D-47A3-A93E-887EB4C81238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3240861" y="4113656"/>
                  <a:ext cx="208080" cy="2476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4" name="그룹 53">
            <a:extLst>
              <a:ext uri="{FF2B5EF4-FFF2-40B4-BE49-F238E27FC236}">
                <a16:creationId xmlns:a16="http://schemas.microsoft.com/office/drawing/2014/main" id="{E4F628F0-B620-44DA-9471-651DCCD8D48E}"/>
              </a:ext>
            </a:extLst>
          </p:cNvPr>
          <p:cNvGrpSpPr/>
          <p:nvPr/>
        </p:nvGrpSpPr>
        <p:grpSpPr>
          <a:xfrm>
            <a:off x="3780141" y="4065416"/>
            <a:ext cx="443520" cy="318240"/>
            <a:chOff x="3780141" y="4065416"/>
            <a:chExt cx="443520" cy="318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83">
              <p14:nvContentPartPr>
                <p14:cNvPr id="51" name="잉크 50">
                  <a:extLst>
                    <a:ext uri="{FF2B5EF4-FFF2-40B4-BE49-F238E27FC236}">
                      <a16:creationId xmlns:a16="http://schemas.microsoft.com/office/drawing/2014/main" id="{D699FDA6-B174-4BE7-8590-FB0006219F61}"/>
                    </a:ext>
                  </a:extLst>
                </p14:cNvPr>
                <p14:cNvContentPartPr/>
                <p14:nvPr/>
              </p14:nvContentPartPr>
              <p14:xfrm>
                <a:off x="3780141" y="4065416"/>
                <a:ext cx="245520" cy="318240"/>
              </p14:xfrm>
            </p:contentPart>
          </mc:Choice>
          <mc:Fallback>
            <p:pic>
              <p:nvPicPr>
                <p:cNvPr id="51" name="잉크 50">
                  <a:extLst>
                    <a:ext uri="{FF2B5EF4-FFF2-40B4-BE49-F238E27FC236}">
                      <a16:creationId xmlns:a16="http://schemas.microsoft.com/office/drawing/2014/main" id="{D699FDA6-B174-4BE7-8590-FB0006219F61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3771141" y="4056776"/>
                  <a:ext cx="263160" cy="33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5">
              <p14:nvContentPartPr>
                <p14:cNvPr id="52" name="잉크 51">
                  <a:extLst>
                    <a:ext uri="{FF2B5EF4-FFF2-40B4-BE49-F238E27FC236}">
                      <a16:creationId xmlns:a16="http://schemas.microsoft.com/office/drawing/2014/main" id="{59E0719B-63AD-4ACB-B2C5-E1E7B591E59F}"/>
                    </a:ext>
                  </a:extLst>
                </p14:cNvPr>
                <p14:cNvContentPartPr/>
                <p14:nvPr/>
              </p14:nvContentPartPr>
              <p14:xfrm>
                <a:off x="4087581" y="4155416"/>
                <a:ext cx="136080" cy="171000"/>
              </p14:xfrm>
            </p:contentPart>
          </mc:Choice>
          <mc:Fallback>
            <p:pic>
              <p:nvPicPr>
                <p:cNvPr id="52" name="잉크 51">
                  <a:extLst>
                    <a:ext uri="{FF2B5EF4-FFF2-40B4-BE49-F238E27FC236}">
                      <a16:creationId xmlns:a16="http://schemas.microsoft.com/office/drawing/2014/main" id="{59E0719B-63AD-4ACB-B2C5-E1E7B591E59F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4078581" y="4146416"/>
                  <a:ext cx="153720" cy="188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5644C185-EAAC-4D2C-8D8B-056E51626810}"/>
              </a:ext>
            </a:extLst>
          </p:cNvPr>
          <p:cNvGrpSpPr/>
          <p:nvPr/>
        </p:nvGrpSpPr>
        <p:grpSpPr>
          <a:xfrm>
            <a:off x="4498341" y="4049216"/>
            <a:ext cx="517680" cy="317880"/>
            <a:chOff x="4498341" y="4049216"/>
            <a:chExt cx="517680" cy="3178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87">
              <p14:nvContentPartPr>
                <p14:cNvPr id="53" name="잉크 52">
                  <a:extLst>
                    <a:ext uri="{FF2B5EF4-FFF2-40B4-BE49-F238E27FC236}">
                      <a16:creationId xmlns:a16="http://schemas.microsoft.com/office/drawing/2014/main" id="{CA1D1821-8482-4034-8AC8-22518BB22B12}"/>
                    </a:ext>
                  </a:extLst>
                </p14:cNvPr>
                <p14:cNvContentPartPr/>
                <p14:nvPr/>
              </p14:nvContentPartPr>
              <p14:xfrm>
                <a:off x="4498341" y="4049216"/>
                <a:ext cx="210600" cy="317880"/>
              </p14:xfrm>
            </p:contentPart>
          </mc:Choice>
          <mc:Fallback>
            <p:pic>
              <p:nvPicPr>
                <p:cNvPr id="53" name="잉크 52">
                  <a:extLst>
                    <a:ext uri="{FF2B5EF4-FFF2-40B4-BE49-F238E27FC236}">
                      <a16:creationId xmlns:a16="http://schemas.microsoft.com/office/drawing/2014/main" id="{CA1D1821-8482-4034-8AC8-22518BB22B12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4489341" y="4040576"/>
                  <a:ext cx="228240" cy="33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9">
              <p14:nvContentPartPr>
                <p14:cNvPr id="55" name="잉크 54">
                  <a:extLst>
                    <a:ext uri="{FF2B5EF4-FFF2-40B4-BE49-F238E27FC236}">
                      <a16:creationId xmlns:a16="http://schemas.microsoft.com/office/drawing/2014/main" id="{E867F44B-DF23-483F-A396-3C31E5409A36}"/>
                    </a:ext>
                  </a:extLst>
                </p14:cNvPr>
                <p14:cNvContentPartPr/>
                <p14:nvPr/>
              </p14:nvContentPartPr>
              <p14:xfrm>
                <a:off x="4805421" y="4155416"/>
                <a:ext cx="210600" cy="150120"/>
              </p14:xfrm>
            </p:contentPart>
          </mc:Choice>
          <mc:Fallback>
            <p:pic>
              <p:nvPicPr>
                <p:cNvPr id="55" name="잉크 54">
                  <a:extLst>
                    <a:ext uri="{FF2B5EF4-FFF2-40B4-BE49-F238E27FC236}">
                      <a16:creationId xmlns:a16="http://schemas.microsoft.com/office/drawing/2014/main" id="{E867F44B-DF23-483F-A396-3C31E5409A36}"/>
                    </a:ext>
                  </a:extLst>
                </p:cNvPr>
                <p:cNvPicPr/>
                <p:nvPr/>
              </p:nvPicPr>
              <p:blipFill>
                <a:blip r:embed="rId90"/>
                <a:stretch>
                  <a:fillRect/>
                </a:stretch>
              </p:blipFill>
              <p:spPr>
                <a:xfrm>
                  <a:off x="4796781" y="4146416"/>
                  <a:ext cx="228240" cy="1677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8" name="그룹 57">
            <a:extLst>
              <a:ext uri="{FF2B5EF4-FFF2-40B4-BE49-F238E27FC236}">
                <a16:creationId xmlns:a16="http://schemas.microsoft.com/office/drawing/2014/main" id="{55BD8310-4A44-4A46-B524-C4F86393A681}"/>
              </a:ext>
            </a:extLst>
          </p:cNvPr>
          <p:cNvGrpSpPr/>
          <p:nvPr/>
        </p:nvGrpSpPr>
        <p:grpSpPr>
          <a:xfrm>
            <a:off x="5510661" y="4016456"/>
            <a:ext cx="427680" cy="288360"/>
            <a:chOff x="5510661" y="4016456"/>
            <a:chExt cx="427680" cy="2883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91">
              <p14:nvContentPartPr>
                <p14:cNvPr id="56" name="잉크 55">
                  <a:extLst>
                    <a:ext uri="{FF2B5EF4-FFF2-40B4-BE49-F238E27FC236}">
                      <a16:creationId xmlns:a16="http://schemas.microsoft.com/office/drawing/2014/main" id="{91E7E442-A6FD-4723-8025-89094D0793F1}"/>
                    </a:ext>
                  </a:extLst>
                </p14:cNvPr>
                <p14:cNvContentPartPr/>
                <p14:nvPr/>
              </p14:nvContentPartPr>
              <p14:xfrm>
                <a:off x="5510661" y="4016456"/>
                <a:ext cx="197640" cy="288360"/>
              </p14:xfrm>
            </p:contentPart>
          </mc:Choice>
          <mc:Fallback>
            <p:pic>
              <p:nvPicPr>
                <p:cNvPr id="56" name="잉크 55">
                  <a:extLst>
                    <a:ext uri="{FF2B5EF4-FFF2-40B4-BE49-F238E27FC236}">
                      <a16:creationId xmlns:a16="http://schemas.microsoft.com/office/drawing/2014/main" id="{91E7E442-A6FD-4723-8025-89094D0793F1}"/>
                    </a:ext>
                  </a:extLst>
                </p:cNvPr>
                <p:cNvPicPr/>
                <p:nvPr/>
              </p:nvPicPr>
              <p:blipFill>
                <a:blip r:embed="rId92"/>
                <a:stretch>
                  <a:fillRect/>
                </a:stretch>
              </p:blipFill>
              <p:spPr>
                <a:xfrm>
                  <a:off x="5502021" y="4007816"/>
                  <a:ext cx="215280" cy="30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3">
              <p14:nvContentPartPr>
                <p14:cNvPr id="57" name="잉크 56">
                  <a:extLst>
                    <a:ext uri="{FF2B5EF4-FFF2-40B4-BE49-F238E27FC236}">
                      <a16:creationId xmlns:a16="http://schemas.microsoft.com/office/drawing/2014/main" id="{1B082FE0-1472-4694-9B54-AC7951E777AA}"/>
                    </a:ext>
                  </a:extLst>
                </p14:cNvPr>
                <p14:cNvContentPartPr/>
                <p14:nvPr/>
              </p14:nvContentPartPr>
              <p14:xfrm>
                <a:off x="5788941" y="4115096"/>
                <a:ext cx="149400" cy="163800"/>
              </p14:xfrm>
            </p:contentPart>
          </mc:Choice>
          <mc:Fallback>
            <p:pic>
              <p:nvPicPr>
                <p:cNvPr id="57" name="잉크 56">
                  <a:extLst>
                    <a:ext uri="{FF2B5EF4-FFF2-40B4-BE49-F238E27FC236}">
                      <a16:creationId xmlns:a16="http://schemas.microsoft.com/office/drawing/2014/main" id="{1B082FE0-1472-4694-9B54-AC7951E777AA}"/>
                    </a:ext>
                  </a:extLst>
                </p:cNvPr>
                <p:cNvPicPr/>
                <p:nvPr/>
              </p:nvPicPr>
              <p:blipFill>
                <a:blip r:embed="rId94"/>
                <a:stretch>
                  <a:fillRect/>
                </a:stretch>
              </p:blipFill>
              <p:spPr>
                <a:xfrm>
                  <a:off x="5779941" y="4106456"/>
                  <a:ext cx="167040" cy="181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AE73DC6C-B568-4C20-B976-6E9CAEA228D3}"/>
              </a:ext>
            </a:extLst>
          </p:cNvPr>
          <p:cNvGrpSpPr/>
          <p:nvPr/>
        </p:nvGrpSpPr>
        <p:grpSpPr>
          <a:xfrm>
            <a:off x="6310581" y="4000256"/>
            <a:ext cx="335520" cy="265320"/>
            <a:chOff x="6310581" y="4000256"/>
            <a:chExt cx="335520" cy="265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95">
              <p14:nvContentPartPr>
                <p14:cNvPr id="60" name="잉크 59">
                  <a:extLst>
                    <a:ext uri="{FF2B5EF4-FFF2-40B4-BE49-F238E27FC236}">
                      <a16:creationId xmlns:a16="http://schemas.microsoft.com/office/drawing/2014/main" id="{1872486E-C41D-4BFB-AD0F-7515D8C80F2C}"/>
                    </a:ext>
                  </a:extLst>
                </p14:cNvPr>
                <p14:cNvContentPartPr/>
                <p14:nvPr/>
              </p14:nvContentPartPr>
              <p14:xfrm>
                <a:off x="6310581" y="4000256"/>
                <a:ext cx="120240" cy="265320"/>
              </p14:xfrm>
            </p:contentPart>
          </mc:Choice>
          <mc:Fallback>
            <p:pic>
              <p:nvPicPr>
                <p:cNvPr id="60" name="잉크 59">
                  <a:extLst>
                    <a:ext uri="{FF2B5EF4-FFF2-40B4-BE49-F238E27FC236}">
                      <a16:creationId xmlns:a16="http://schemas.microsoft.com/office/drawing/2014/main" id="{1872486E-C41D-4BFB-AD0F-7515D8C80F2C}"/>
                    </a:ext>
                  </a:extLst>
                </p:cNvPr>
                <p:cNvPicPr/>
                <p:nvPr/>
              </p:nvPicPr>
              <p:blipFill>
                <a:blip r:embed="rId96"/>
                <a:stretch>
                  <a:fillRect/>
                </a:stretch>
              </p:blipFill>
              <p:spPr>
                <a:xfrm>
                  <a:off x="6301941" y="3991616"/>
                  <a:ext cx="137880" cy="282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7">
              <p14:nvContentPartPr>
                <p14:cNvPr id="61" name="잉크 60">
                  <a:extLst>
                    <a:ext uri="{FF2B5EF4-FFF2-40B4-BE49-F238E27FC236}">
                      <a16:creationId xmlns:a16="http://schemas.microsoft.com/office/drawing/2014/main" id="{AAFACE16-C65F-4A5B-A9B3-D4782679C395}"/>
                    </a:ext>
                  </a:extLst>
                </p14:cNvPr>
                <p14:cNvContentPartPr/>
                <p14:nvPr/>
              </p14:nvContentPartPr>
              <p14:xfrm>
                <a:off x="6504621" y="4032656"/>
                <a:ext cx="141480" cy="198720"/>
              </p14:xfrm>
            </p:contentPart>
          </mc:Choice>
          <mc:Fallback>
            <p:pic>
              <p:nvPicPr>
                <p:cNvPr id="61" name="잉크 60">
                  <a:extLst>
                    <a:ext uri="{FF2B5EF4-FFF2-40B4-BE49-F238E27FC236}">
                      <a16:creationId xmlns:a16="http://schemas.microsoft.com/office/drawing/2014/main" id="{AAFACE16-C65F-4A5B-A9B3-D4782679C395}"/>
                    </a:ext>
                  </a:extLst>
                </p:cNvPr>
                <p:cNvPicPr/>
                <p:nvPr/>
              </p:nvPicPr>
              <p:blipFill>
                <a:blip r:embed="rId98"/>
                <a:stretch>
                  <a:fillRect/>
                </a:stretch>
              </p:blipFill>
              <p:spPr>
                <a:xfrm>
                  <a:off x="6495621" y="4024016"/>
                  <a:ext cx="159120" cy="216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80" name="그룹 79">
            <a:extLst>
              <a:ext uri="{FF2B5EF4-FFF2-40B4-BE49-F238E27FC236}">
                <a16:creationId xmlns:a16="http://schemas.microsoft.com/office/drawing/2014/main" id="{432F1355-5A22-4451-82EF-3A9AD5345CA7}"/>
              </a:ext>
            </a:extLst>
          </p:cNvPr>
          <p:cNvGrpSpPr/>
          <p:nvPr/>
        </p:nvGrpSpPr>
        <p:grpSpPr>
          <a:xfrm>
            <a:off x="2889861" y="4645376"/>
            <a:ext cx="478800" cy="343800"/>
            <a:chOff x="2889861" y="4645376"/>
            <a:chExt cx="478800" cy="3438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99">
              <p14:nvContentPartPr>
                <p14:cNvPr id="63" name="잉크 62">
                  <a:extLst>
                    <a:ext uri="{FF2B5EF4-FFF2-40B4-BE49-F238E27FC236}">
                      <a16:creationId xmlns:a16="http://schemas.microsoft.com/office/drawing/2014/main" id="{878DA3B2-756B-4895-9640-BF7F18736AB5}"/>
                    </a:ext>
                  </a:extLst>
                </p14:cNvPr>
                <p14:cNvContentPartPr/>
                <p14:nvPr/>
              </p14:nvContentPartPr>
              <p14:xfrm>
                <a:off x="2889861" y="4645376"/>
                <a:ext cx="133560" cy="343800"/>
              </p14:xfrm>
            </p:contentPart>
          </mc:Choice>
          <mc:Fallback>
            <p:pic>
              <p:nvPicPr>
                <p:cNvPr id="63" name="잉크 62">
                  <a:extLst>
                    <a:ext uri="{FF2B5EF4-FFF2-40B4-BE49-F238E27FC236}">
                      <a16:creationId xmlns:a16="http://schemas.microsoft.com/office/drawing/2014/main" id="{878DA3B2-756B-4895-9640-BF7F18736AB5}"/>
                    </a:ext>
                  </a:extLst>
                </p:cNvPr>
                <p:cNvPicPr/>
                <p:nvPr/>
              </p:nvPicPr>
              <p:blipFill>
                <a:blip r:embed="rId100"/>
                <a:stretch>
                  <a:fillRect/>
                </a:stretch>
              </p:blipFill>
              <p:spPr>
                <a:xfrm>
                  <a:off x="2880861" y="4636736"/>
                  <a:ext cx="151200" cy="36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1">
              <p14:nvContentPartPr>
                <p14:cNvPr id="64" name="잉크 63">
                  <a:extLst>
                    <a:ext uri="{FF2B5EF4-FFF2-40B4-BE49-F238E27FC236}">
                      <a16:creationId xmlns:a16="http://schemas.microsoft.com/office/drawing/2014/main" id="{64588A38-2AB3-4B58-B080-B31A62F41691}"/>
                    </a:ext>
                  </a:extLst>
                </p14:cNvPr>
                <p14:cNvContentPartPr/>
                <p14:nvPr/>
              </p14:nvContentPartPr>
              <p14:xfrm>
                <a:off x="3200181" y="4718456"/>
                <a:ext cx="168480" cy="270360"/>
              </p14:xfrm>
            </p:contentPart>
          </mc:Choice>
          <mc:Fallback>
            <p:pic>
              <p:nvPicPr>
                <p:cNvPr id="64" name="잉크 63">
                  <a:extLst>
                    <a:ext uri="{FF2B5EF4-FFF2-40B4-BE49-F238E27FC236}">
                      <a16:creationId xmlns:a16="http://schemas.microsoft.com/office/drawing/2014/main" id="{64588A38-2AB3-4B58-B080-B31A62F41691}"/>
                    </a:ext>
                  </a:extLst>
                </p:cNvPr>
                <p:cNvPicPr/>
                <p:nvPr/>
              </p:nvPicPr>
              <p:blipFill>
                <a:blip r:embed="rId102"/>
                <a:stretch>
                  <a:fillRect/>
                </a:stretch>
              </p:blipFill>
              <p:spPr>
                <a:xfrm>
                  <a:off x="3191181" y="4709816"/>
                  <a:ext cx="186120" cy="288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9" name="그룹 78">
            <a:extLst>
              <a:ext uri="{FF2B5EF4-FFF2-40B4-BE49-F238E27FC236}">
                <a16:creationId xmlns:a16="http://schemas.microsoft.com/office/drawing/2014/main" id="{0F2B2512-F7A3-4C48-85D4-CEAE5C390CC7}"/>
              </a:ext>
            </a:extLst>
          </p:cNvPr>
          <p:cNvGrpSpPr/>
          <p:nvPr/>
        </p:nvGrpSpPr>
        <p:grpSpPr>
          <a:xfrm>
            <a:off x="3829101" y="4611536"/>
            <a:ext cx="501480" cy="289800"/>
            <a:chOff x="3829101" y="4611536"/>
            <a:chExt cx="501480" cy="2898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03">
              <p14:nvContentPartPr>
                <p14:cNvPr id="65" name="잉크 64">
                  <a:extLst>
                    <a:ext uri="{FF2B5EF4-FFF2-40B4-BE49-F238E27FC236}">
                      <a16:creationId xmlns:a16="http://schemas.microsoft.com/office/drawing/2014/main" id="{20033469-7CF9-4534-B374-EDDA0915F98D}"/>
                    </a:ext>
                  </a:extLst>
                </p14:cNvPr>
                <p14:cNvContentPartPr/>
                <p14:nvPr/>
              </p14:nvContentPartPr>
              <p14:xfrm>
                <a:off x="3829101" y="4611536"/>
                <a:ext cx="181440" cy="289800"/>
              </p14:xfrm>
            </p:contentPart>
          </mc:Choice>
          <mc:Fallback>
            <p:pic>
              <p:nvPicPr>
                <p:cNvPr id="65" name="잉크 64">
                  <a:extLst>
                    <a:ext uri="{FF2B5EF4-FFF2-40B4-BE49-F238E27FC236}">
                      <a16:creationId xmlns:a16="http://schemas.microsoft.com/office/drawing/2014/main" id="{20033469-7CF9-4534-B374-EDDA0915F98D}"/>
                    </a:ext>
                  </a:extLst>
                </p:cNvPr>
                <p:cNvPicPr/>
                <p:nvPr/>
              </p:nvPicPr>
              <p:blipFill>
                <a:blip r:embed="rId104"/>
                <a:stretch>
                  <a:fillRect/>
                </a:stretch>
              </p:blipFill>
              <p:spPr>
                <a:xfrm>
                  <a:off x="3820101" y="4602536"/>
                  <a:ext cx="199080" cy="307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5">
              <p14:nvContentPartPr>
                <p14:cNvPr id="66" name="잉크 65">
                  <a:extLst>
                    <a:ext uri="{FF2B5EF4-FFF2-40B4-BE49-F238E27FC236}">
                      <a16:creationId xmlns:a16="http://schemas.microsoft.com/office/drawing/2014/main" id="{1B61A4A5-DE1D-4C83-8849-C4F95BCD082A}"/>
                    </a:ext>
                  </a:extLst>
                </p14:cNvPr>
                <p14:cNvContentPartPr/>
                <p14:nvPr/>
              </p14:nvContentPartPr>
              <p14:xfrm>
                <a:off x="4129701" y="4677776"/>
                <a:ext cx="200880" cy="181080"/>
              </p14:xfrm>
            </p:contentPart>
          </mc:Choice>
          <mc:Fallback>
            <p:pic>
              <p:nvPicPr>
                <p:cNvPr id="66" name="잉크 65">
                  <a:extLst>
                    <a:ext uri="{FF2B5EF4-FFF2-40B4-BE49-F238E27FC236}">
                      <a16:creationId xmlns:a16="http://schemas.microsoft.com/office/drawing/2014/main" id="{1B61A4A5-DE1D-4C83-8849-C4F95BCD082A}"/>
                    </a:ext>
                  </a:extLst>
                </p:cNvPr>
                <p:cNvPicPr/>
                <p:nvPr/>
              </p:nvPicPr>
              <p:blipFill>
                <a:blip r:embed="rId106"/>
                <a:stretch>
                  <a:fillRect/>
                </a:stretch>
              </p:blipFill>
              <p:spPr>
                <a:xfrm>
                  <a:off x="4121061" y="4668776"/>
                  <a:ext cx="218520" cy="1987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A56D331C-CBBB-405B-B7FF-B4648621E1F7}"/>
              </a:ext>
            </a:extLst>
          </p:cNvPr>
          <p:cNvGrpSpPr/>
          <p:nvPr/>
        </p:nvGrpSpPr>
        <p:grpSpPr>
          <a:xfrm>
            <a:off x="4620741" y="4587776"/>
            <a:ext cx="484200" cy="303480"/>
            <a:chOff x="4620741" y="4587776"/>
            <a:chExt cx="484200" cy="3034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07">
              <p14:nvContentPartPr>
                <p14:cNvPr id="67" name="잉크 66">
                  <a:extLst>
                    <a:ext uri="{FF2B5EF4-FFF2-40B4-BE49-F238E27FC236}">
                      <a16:creationId xmlns:a16="http://schemas.microsoft.com/office/drawing/2014/main" id="{FDB608C4-B284-44F1-9C22-8B704D82914E}"/>
                    </a:ext>
                  </a:extLst>
                </p14:cNvPr>
                <p14:cNvContentPartPr/>
                <p14:nvPr/>
              </p14:nvContentPartPr>
              <p14:xfrm>
                <a:off x="4620741" y="4587776"/>
                <a:ext cx="199800" cy="8640"/>
              </p14:xfrm>
            </p:contentPart>
          </mc:Choice>
          <mc:Fallback>
            <p:pic>
              <p:nvPicPr>
                <p:cNvPr id="67" name="잉크 66">
                  <a:extLst>
                    <a:ext uri="{FF2B5EF4-FFF2-40B4-BE49-F238E27FC236}">
                      <a16:creationId xmlns:a16="http://schemas.microsoft.com/office/drawing/2014/main" id="{FDB608C4-B284-44F1-9C22-8B704D82914E}"/>
                    </a:ext>
                  </a:extLst>
                </p:cNvPr>
                <p:cNvPicPr/>
                <p:nvPr/>
              </p:nvPicPr>
              <p:blipFill>
                <a:blip r:embed="rId108"/>
                <a:stretch>
                  <a:fillRect/>
                </a:stretch>
              </p:blipFill>
              <p:spPr>
                <a:xfrm>
                  <a:off x="4612101" y="4579136"/>
                  <a:ext cx="21744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9">
              <p14:nvContentPartPr>
                <p14:cNvPr id="68" name="잉크 67">
                  <a:extLst>
                    <a:ext uri="{FF2B5EF4-FFF2-40B4-BE49-F238E27FC236}">
                      <a16:creationId xmlns:a16="http://schemas.microsoft.com/office/drawing/2014/main" id="{65479BB7-193E-4BEA-B10F-CDD77A7D3641}"/>
                    </a:ext>
                  </a:extLst>
                </p14:cNvPr>
                <p14:cNvContentPartPr/>
                <p14:nvPr/>
              </p14:nvContentPartPr>
              <p14:xfrm>
                <a:off x="4685901" y="4637096"/>
                <a:ext cx="94680" cy="254160"/>
              </p14:xfrm>
            </p:contentPart>
          </mc:Choice>
          <mc:Fallback>
            <p:pic>
              <p:nvPicPr>
                <p:cNvPr id="68" name="잉크 67">
                  <a:extLst>
                    <a:ext uri="{FF2B5EF4-FFF2-40B4-BE49-F238E27FC236}">
                      <a16:creationId xmlns:a16="http://schemas.microsoft.com/office/drawing/2014/main" id="{65479BB7-193E-4BEA-B10F-CDD77A7D3641}"/>
                    </a:ext>
                  </a:extLst>
                </p:cNvPr>
                <p:cNvPicPr/>
                <p:nvPr/>
              </p:nvPicPr>
              <p:blipFill>
                <a:blip r:embed="rId110"/>
                <a:stretch>
                  <a:fillRect/>
                </a:stretch>
              </p:blipFill>
              <p:spPr>
                <a:xfrm>
                  <a:off x="4676901" y="4628456"/>
                  <a:ext cx="112320" cy="27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1">
              <p14:nvContentPartPr>
                <p14:cNvPr id="69" name="잉크 68">
                  <a:extLst>
                    <a:ext uri="{FF2B5EF4-FFF2-40B4-BE49-F238E27FC236}">
                      <a16:creationId xmlns:a16="http://schemas.microsoft.com/office/drawing/2014/main" id="{2CE34B25-62DF-40F0-BB88-7B707E981991}"/>
                    </a:ext>
                  </a:extLst>
                </p14:cNvPr>
                <p14:cNvContentPartPr/>
                <p14:nvPr/>
              </p14:nvContentPartPr>
              <p14:xfrm>
                <a:off x="5003781" y="4686056"/>
                <a:ext cx="101160" cy="178920"/>
              </p14:xfrm>
            </p:contentPart>
          </mc:Choice>
          <mc:Fallback>
            <p:pic>
              <p:nvPicPr>
                <p:cNvPr id="69" name="잉크 68">
                  <a:extLst>
                    <a:ext uri="{FF2B5EF4-FFF2-40B4-BE49-F238E27FC236}">
                      <a16:creationId xmlns:a16="http://schemas.microsoft.com/office/drawing/2014/main" id="{2CE34B25-62DF-40F0-BB88-7B707E981991}"/>
                    </a:ext>
                  </a:extLst>
                </p:cNvPr>
                <p:cNvPicPr/>
                <p:nvPr/>
              </p:nvPicPr>
              <p:blipFill>
                <a:blip r:embed="rId112"/>
                <a:stretch>
                  <a:fillRect/>
                </a:stretch>
              </p:blipFill>
              <p:spPr>
                <a:xfrm>
                  <a:off x="4995141" y="4677416"/>
                  <a:ext cx="118800" cy="196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7" name="그룹 76">
            <a:extLst>
              <a:ext uri="{FF2B5EF4-FFF2-40B4-BE49-F238E27FC236}">
                <a16:creationId xmlns:a16="http://schemas.microsoft.com/office/drawing/2014/main" id="{79F5B4BB-214C-4718-9556-1FEAFFD16D8E}"/>
              </a:ext>
            </a:extLst>
          </p:cNvPr>
          <p:cNvGrpSpPr/>
          <p:nvPr/>
        </p:nvGrpSpPr>
        <p:grpSpPr>
          <a:xfrm>
            <a:off x="5599581" y="4604336"/>
            <a:ext cx="418320" cy="266040"/>
            <a:chOff x="5599581" y="4604336"/>
            <a:chExt cx="418320" cy="2660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13">
              <p14:nvContentPartPr>
                <p14:cNvPr id="70" name="잉크 69">
                  <a:extLst>
                    <a:ext uri="{FF2B5EF4-FFF2-40B4-BE49-F238E27FC236}">
                      <a16:creationId xmlns:a16="http://schemas.microsoft.com/office/drawing/2014/main" id="{47E75DC2-293E-450B-B139-954D7F00E614}"/>
                    </a:ext>
                  </a:extLst>
                </p14:cNvPr>
                <p14:cNvContentPartPr/>
                <p14:nvPr/>
              </p14:nvContentPartPr>
              <p14:xfrm>
                <a:off x="5624781" y="4604336"/>
                <a:ext cx="109800" cy="360"/>
              </p14:xfrm>
            </p:contentPart>
          </mc:Choice>
          <mc:Fallback>
            <p:pic>
              <p:nvPicPr>
                <p:cNvPr id="70" name="잉크 69">
                  <a:extLst>
                    <a:ext uri="{FF2B5EF4-FFF2-40B4-BE49-F238E27FC236}">
                      <a16:creationId xmlns:a16="http://schemas.microsoft.com/office/drawing/2014/main" id="{47E75DC2-293E-450B-B139-954D7F00E614}"/>
                    </a:ext>
                  </a:extLst>
                </p:cNvPr>
                <p:cNvPicPr/>
                <p:nvPr/>
              </p:nvPicPr>
              <p:blipFill>
                <a:blip r:embed="rId114"/>
                <a:stretch>
                  <a:fillRect/>
                </a:stretch>
              </p:blipFill>
              <p:spPr>
                <a:xfrm>
                  <a:off x="5616141" y="4595696"/>
                  <a:ext cx="12744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5">
              <p14:nvContentPartPr>
                <p14:cNvPr id="71" name="잉크 70">
                  <a:extLst>
                    <a:ext uri="{FF2B5EF4-FFF2-40B4-BE49-F238E27FC236}">
                      <a16:creationId xmlns:a16="http://schemas.microsoft.com/office/drawing/2014/main" id="{DD92EA01-29D0-4C46-B794-FAFE56CC3695}"/>
                    </a:ext>
                  </a:extLst>
                </p14:cNvPr>
                <p14:cNvContentPartPr/>
                <p14:nvPr/>
              </p14:nvContentPartPr>
              <p14:xfrm>
                <a:off x="5599581" y="4604336"/>
                <a:ext cx="179640" cy="266040"/>
              </p14:xfrm>
            </p:contentPart>
          </mc:Choice>
          <mc:Fallback>
            <p:pic>
              <p:nvPicPr>
                <p:cNvPr id="71" name="잉크 70">
                  <a:extLst>
                    <a:ext uri="{FF2B5EF4-FFF2-40B4-BE49-F238E27FC236}">
                      <a16:creationId xmlns:a16="http://schemas.microsoft.com/office/drawing/2014/main" id="{DD92EA01-29D0-4C46-B794-FAFE56CC3695}"/>
                    </a:ext>
                  </a:extLst>
                </p:cNvPr>
                <p:cNvPicPr/>
                <p:nvPr/>
              </p:nvPicPr>
              <p:blipFill>
                <a:blip r:embed="rId116"/>
                <a:stretch>
                  <a:fillRect/>
                </a:stretch>
              </p:blipFill>
              <p:spPr>
                <a:xfrm>
                  <a:off x="5590941" y="4595696"/>
                  <a:ext cx="197280" cy="28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7">
              <p14:nvContentPartPr>
                <p14:cNvPr id="72" name="잉크 71">
                  <a:extLst>
                    <a:ext uri="{FF2B5EF4-FFF2-40B4-BE49-F238E27FC236}">
                      <a16:creationId xmlns:a16="http://schemas.microsoft.com/office/drawing/2014/main" id="{2C15CB5C-0A9E-42EE-AC08-68823209B1B4}"/>
                    </a:ext>
                  </a:extLst>
                </p14:cNvPr>
                <p14:cNvContentPartPr/>
                <p14:nvPr/>
              </p14:nvContentPartPr>
              <p14:xfrm>
                <a:off x="5871741" y="4645376"/>
                <a:ext cx="146160" cy="157680"/>
              </p14:xfrm>
            </p:contentPart>
          </mc:Choice>
          <mc:Fallback>
            <p:pic>
              <p:nvPicPr>
                <p:cNvPr id="72" name="잉크 71">
                  <a:extLst>
                    <a:ext uri="{FF2B5EF4-FFF2-40B4-BE49-F238E27FC236}">
                      <a16:creationId xmlns:a16="http://schemas.microsoft.com/office/drawing/2014/main" id="{2C15CB5C-0A9E-42EE-AC08-68823209B1B4}"/>
                    </a:ext>
                  </a:extLst>
                </p:cNvPr>
                <p:cNvPicPr/>
                <p:nvPr/>
              </p:nvPicPr>
              <p:blipFill>
                <a:blip r:embed="rId118"/>
                <a:stretch>
                  <a:fillRect/>
                </a:stretch>
              </p:blipFill>
              <p:spPr>
                <a:xfrm>
                  <a:off x="5862741" y="4636376"/>
                  <a:ext cx="163800" cy="1753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6" name="그룹 75">
            <a:extLst>
              <a:ext uri="{FF2B5EF4-FFF2-40B4-BE49-F238E27FC236}">
                <a16:creationId xmlns:a16="http://schemas.microsoft.com/office/drawing/2014/main" id="{935DC442-E748-4929-8EBC-434DF11499D5}"/>
              </a:ext>
            </a:extLst>
          </p:cNvPr>
          <p:cNvGrpSpPr/>
          <p:nvPr/>
        </p:nvGrpSpPr>
        <p:grpSpPr>
          <a:xfrm>
            <a:off x="6318861" y="4534136"/>
            <a:ext cx="402840" cy="276480"/>
            <a:chOff x="6318861" y="4534136"/>
            <a:chExt cx="402840" cy="2764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19">
              <p14:nvContentPartPr>
                <p14:cNvPr id="73" name="잉크 72">
                  <a:extLst>
                    <a:ext uri="{FF2B5EF4-FFF2-40B4-BE49-F238E27FC236}">
                      <a16:creationId xmlns:a16="http://schemas.microsoft.com/office/drawing/2014/main" id="{D7EA5D3E-158A-461C-8B5C-738CD676698E}"/>
                    </a:ext>
                  </a:extLst>
                </p14:cNvPr>
                <p14:cNvContentPartPr/>
                <p14:nvPr/>
              </p14:nvContentPartPr>
              <p14:xfrm>
                <a:off x="6318861" y="4534136"/>
                <a:ext cx="118440" cy="5400"/>
              </p14:xfrm>
            </p:contentPart>
          </mc:Choice>
          <mc:Fallback>
            <p:pic>
              <p:nvPicPr>
                <p:cNvPr id="73" name="잉크 72">
                  <a:extLst>
                    <a:ext uri="{FF2B5EF4-FFF2-40B4-BE49-F238E27FC236}">
                      <a16:creationId xmlns:a16="http://schemas.microsoft.com/office/drawing/2014/main" id="{D7EA5D3E-158A-461C-8B5C-738CD676698E}"/>
                    </a:ext>
                  </a:extLst>
                </p:cNvPr>
                <p:cNvPicPr/>
                <p:nvPr/>
              </p:nvPicPr>
              <p:blipFill>
                <a:blip r:embed="rId120"/>
                <a:stretch>
                  <a:fillRect/>
                </a:stretch>
              </p:blipFill>
              <p:spPr>
                <a:xfrm>
                  <a:off x="6309861" y="4525136"/>
                  <a:ext cx="136080" cy="23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1">
              <p14:nvContentPartPr>
                <p14:cNvPr id="74" name="잉크 73">
                  <a:extLst>
                    <a:ext uri="{FF2B5EF4-FFF2-40B4-BE49-F238E27FC236}">
                      <a16:creationId xmlns:a16="http://schemas.microsoft.com/office/drawing/2014/main" id="{1EB8EDD7-525A-48B8-BC2B-899F0D3B321F}"/>
                    </a:ext>
                  </a:extLst>
                </p14:cNvPr>
                <p14:cNvContentPartPr/>
                <p14:nvPr/>
              </p14:nvContentPartPr>
              <p14:xfrm>
                <a:off x="6362781" y="4555376"/>
                <a:ext cx="85680" cy="255240"/>
              </p14:xfrm>
            </p:contentPart>
          </mc:Choice>
          <mc:Fallback>
            <p:pic>
              <p:nvPicPr>
                <p:cNvPr id="74" name="잉크 73">
                  <a:extLst>
                    <a:ext uri="{FF2B5EF4-FFF2-40B4-BE49-F238E27FC236}">
                      <a16:creationId xmlns:a16="http://schemas.microsoft.com/office/drawing/2014/main" id="{1EB8EDD7-525A-48B8-BC2B-899F0D3B321F}"/>
                    </a:ext>
                  </a:extLst>
                </p:cNvPr>
                <p:cNvPicPr/>
                <p:nvPr/>
              </p:nvPicPr>
              <p:blipFill>
                <a:blip r:embed="rId122"/>
                <a:stretch>
                  <a:fillRect/>
                </a:stretch>
              </p:blipFill>
              <p:spPr>
                <a:xfrm>
                  <a:off x="6353781" y="4546376"/>
                  <a:ext cx="103320" cy="272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3">
              <p14:nvContentPartPr>
                <p14:cNvPr id="75" name="잉크 74">
                  <a:extLst>
                    <a:ext uri="{FF2B5EF4-FFF2-40B4-BE49-F238E27FC236}">
                      <a16:creationId xmlns:a16="http://schemas.microsoft.com/office/drawing/2014/main" id="{9B827033-7584-43B0-8F86-A75173197F06}"/>
                    </a:ext>
                  </a:extLst>
                </p14:cNvPr>
                <p14:cNvContentPartPr/>
                <p14:nvPr/>
              </p14:nvContentPartPr>
              <p14:xfrm>
                <a:off x="6629541" y="4581656"/>
                <a:ext cx="92160" cy="138240"/>
              </p14:xfrm>
            </p:contentPart>
          </mc:Choice>
          <mc:Fallback>
            <p:pic>
              <p:nvPicPr>
                <p:cNvPr id="75" name="잉크 74">
                  <a:extLst>
                    <a:ext uri="{FF2B5EF4-FFF2-40B4-BE49-F238E27FC236}">
                      <a16:creationId xmlns:a16="http://schemas.microsoft.com/office/drawing/2014/main" id="{9B827033-7584-43B0-8F86-A75173197F06}"/>
                    </a:ext>
                  </a:extLst>
                </p:cNvPr>
                <p:cNvPicPr/>
                <p:nvPr/>
              </p:nvPicPr>
              <p:blipFill>
                <a:blip r:embed="rId124"/>
                <a:stretch>
                  <a:fillRect/>
                </a:stretch>
              </p:blipFill>
              <p:spPr>
                <a:xfrm>
                  <a:off x="6620541" y="4572656"/>
                  <a:ext cx="109800" cy="1558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25">
            <p14:nvContentPartPr>
              <p14:cNvPr id="81" name="잉크 80">
                <a:extLst>
                  <a:ext uri="{FF2B5EF4-FFF2-40B4-BE49-F238E27FC236}">
                    <a16:creationId xmlns:a16="http://schemas.microsoft.com/office/drawing/2014/main" id="{69B498BA-9A54-4ADF-9143-09D8C063EACF}"/>
                  </a:ext>
                </a:extLst>
              </p14:cNvPr>
              <p14:cNvContentPartPr/>
              <p14:nvPr/>
            </p14:nvContentPartPr>
            <p14:xfrm>
              <a:off x="2938821" y="5281856"/>
              <a:ext cx="99360" cy="226800"/>
            </p14:xfrm>
          </p:contentPart>
        </mc:Choice>
        <mc:Fallback>
          <p:pic>
            <p:nvPicPr>
              <p:cNvPr id="81" name="잉크 80">
                <a:extLst>
                  <a:ext uri="{FF2B5EF4-FFF2-40B4-BE49-F238E27FC236}">
                    <a16:creationId xmlns:a16="http://schemas.microsoft.com/office/drawing/2014/main" id="{69B498BA-9A54-4ADF-9143-09D8C063EACF}"/>
                  </a:ext>
                </a:extLst>
              </p:cNvPr>
              <p:cNvPicPr/>
              <p:nvPr/>
            </p:nvPicPr>
            <p:blipFill>
              <a:blip r:embed="rId126"/>
              <a:stretch>
                <a:fillRect/>
              </a:stretch>
            </p:blipFill>
            <p:spPr>
              <a:xfrm>
                <a:off x="2929821" y="5273216"/>
                <a:ext cx="117000" cy="244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7">
            <p14:nvContentPartPr>
              <p14:cNvPr id="82" name="잉크 81">
                <a:extLst>
                  <a:ext uri="{FF2B5EF4-FFF2-40B4-BE49-F238E27FC236}">
                    <a16:creationId xmlns:a16="http://schemas.microsoft.com/office/drawing/2014/main" id="{49C79EF4-FBA4-4EB7-BA3E-99C2EB8C98FA}"/>
                  </a:ext>
                </a:extLst>
              </p14:cNvPr>
              <p14:cNvContentPartPr/>
              <p14:nvPr/>
            </p14:nvContentPartPr>
            <p14:xfrm>
              <a:off x="3256701" y="5316776"/>
              <a:ext cx="118440" cy="146520"/>
            </p14:xfrm>
          </p:contentPart>
        </mc:Choice>
        <mc:Fallback>
          <p:pic>
            <p:nvPicPr>
              <p:cNvPr id="82" name="잉크 81">
                <a:extLst>
                  <a:ext uri="{FF2B5EF4-FFF2-40B4-BE49-F238E27FC236}">
                    <a16:creationId xmlns:a16="http://schemas.microsoft.com/office/drawing/2014/main" id="{49C79EF4-FBA4-4EB7-BA3E-99C2EB8C98FA}"/>
                  </a:ext>
                </a:extLst>
              </p:cNvPr>
              <p:cNvPicPr/>
              <p:nvPr/>
            </p:nvPicPr>
            <p:blipFill>
              <a:blip r:embed="rId128"/>
              <a:stretch>
                <a:fillRect/>
              </a:stretch>
            </p:blipFill>
            <p:spPr>
              <a:xfrm>
                <a:off x="3247701" y="5307776"/>
                <a:ext cx="136080" cy="164160"/>
              </a:xfrm>
              <a:prstGeom prst="rect">
                <a:avLst/>
              </a:prstGeom>
            </p:spPr>
          </p:pic>
        </mc:Fallback>
      </mc:AlternateContent>
      <p:grpSp>
        <p:nvGrpSpPr>
          <p:cNvPr id="85" name="그룹 84">
            <a:extLst>
              <a:ext uri="{FF2B5EF4-FFF2-40B4-BE49-F238E27FC236}">
                <a16:creationId xmlns:a16="http://schemas.microsoft.com/office/drawing/2014/main" id="{C1F78662-7947-43F8-8198-3378FB7A06CF}"/>
              </a:ext>
            </a:extLst>
          </p:cNvPr>
          <p:cNvGrpSpPr/>
          <p:nvPr/>
        </p:nvGrpSpPr>
        <p:grpSpPr>
          <a:xfrm>
            <a:off x="3899301" y="5249096"/>
            <a:ext cx="443880" cy="319680"/>
            <a:chOff x="3899301" y="5249096"/>
            <a:chExt cx="443880" cy="3196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29">
              <p14:nvContentPartPr>
                <p14:cNvPr id="83" name="잉크 82">
                  <a:extLst>
                    <a:ext uri="{FF2B5EF4-FFF2-40B4-BE49-F238E27FC236}">
                      <a16:creationId xmlns:a16="http://schemas.microsoft.com/office/drawing/2014/main" id="{A61A4835-DBD3-44BB-BEC5-F0A6FDF14EF5}"/>
                    </a:ext>
                  </a:extLst>
                </p14:cNvPr>
                <p14:cNvContentPartPr/>
                <p14:nvPr/>
              </p14:nvContentPartPr>
              <p14:xfrm>
                <a:off x="3899301" y="5249096"/>
                <a:ext cx="92160" cy="319680"/>
              </p14:xfrm>
            </p:contentPart>
          </mc:Choice>
          <mc:Fallback>
            <p:pic>
              <p:nvPicPr>
                <p:cNvPr id="83" name="잉크 82">
                  <a:extLst>
                    <a:ext uri="{FF2B5EF4-FFF2-40B4-BE49-F238E27FC236}">
                      <a16:creationId xmlns:a16="http://schemas.microsoft.com/office/drawing/2014/main" id="{A61A4835-DBD3-44BB-BEC5-F0A6FDF14EF5}"/>
                    </a:ext>
                  </a:extLst>
                </p:cNvPr>
                <p:cNvPicPr/>
                <p:nvPr/>
              </p:nvPicPr>
              <p:blipFill>
                <a:blip r:embed="rId130"/>
                <a:stretch>
                  <a:fillRect/>
                </a:stretch>
              </p:blipFill>
              <p:spPr>
                <a:xfrm>
                  <a:off x="3890301" y="5240456"/>
                  <a:ext cx="109800" cy="33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1">
              <p14:nvContentPartPr>
                <p14:cNvPr id="84" name="잉크 83">
                  <a:extLst>
                    <a:ext uri="{FF2B5EF4-FFF2-40B4-BE49-F238E27FC236}">
                      <a16:creationId xmlns:a16="http://schemas.microsoft.com/office/drawing/2014/main" id="{E55E158D-24C2-41CE-9C64-E9933CCE5EA5}"/>
                    </a:ext>
                  </a:extLst>
                </p14:cNvPr>
                <p14:cNvContentPartPr/>
                <p14:nvPr/>
              </p14:nvContentPartPr>
              <p14:xfrm>
                <a:off x="4185861" y="5313536"/>
                <a:ext cx="157320" cy="191520"/>
              </p14:xfrm>
            </p:contentPart>
          </mc:Choice>
          <mc:Fallback>
            <p:pic>
              <p:nvPicPr>
                <p:cNvPr id="84" name="잉크 83">
                  <a:extLst>
                    <a:ext uri="{FF2B5EF4-FFF2-40B4-BE49-F238E27FC236}">
                      <a16:creationId xmlns:a16="http://schemas.microsoft.com/office/drawing/2014/main" id="{E55E158D-24C2-41CE-9C64-E9933CCE5EA5}"/>
                    </a:ext>
                  </a:extLst>
                </p:cNvPr>
                <p:cNvPicPr/>
                <p:nvPr/>
              </p:nvPicPr>
              <p:blipFill>
                <a:blip r:embed="rId132"/>
                <a:stretch>
                  <a:fillRect/>
                </a:stretch>
              </p:blipFill>
              <p:spPr>
                <a:xfrm>
                  <a:off x="4177221" y="5304896"/>
                  <a:ext cx="174960" cy="2091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0E36D362-1D78-4DB1-8DBA-939BBDCE878B}"/>
              </a:ext>
            </a:extLst>
          </p:cNvPr>
          <p:cNvGrpSpPr/>
          <p:nvPr/>
        </p:nvGrpSpPr>
        <p:grpSpPr>
          <a:xfrm>
            <a:off x="4726941" y="5186456"/>
            <a:ext cx="481320" cy="371160"/>
            <a:chOff x="4726941" y="5186456"/>
            <a:chExt cx="481320" cy="3711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33">
              <p14:nvContentPartPr>
                <p14:cNvPr id="86" name="잉크 85">
                  <a:extLst>
                    <a:ext uri="{FF2B5EF4-FFF2-40B4-BE49-F238E27FC236}">
                      <a16:creationId xmlns:a16="http://schemas.microsoft.com/office/drawing/2014/main" id="{0A18804A-5FD6-40FF-AC9B-9B7ABE009129}"/>
                    </a:ext>
                  </a:extLst>
                </p14:cNvPr>
                <p14:cNvContentPartPr/>
                <p14:nvPr/>
              </p14:nvContentPartPr>
              <p14:xfrm>
                <a:off x="4726941" y="5186456"/>
                <a:ext cx="164160" cy="22320"/>
              </p14:xfrm>
            </p:contentPart>
          </mc:Choice>
          <mc:Fallback>
            <p:pic>
              <p:nvPicPr>
                <p:cNvPr id="86" name="잉크 85">
                  <a:extLst>
                    <a:ext uri="{FF2B5EF4-FFF2-40B4-BE49-F238E27FC236}">
                      <a16:creationId xmlns:a16="http://schemas.microsoft.com/office/drawing/2014/main" id="{0A18804A-5FD6-40FF-AC9B-9B7ABE009129}"/>
                    </a:ext>
                  </a:extLst>
                </p:cNvPr>
                <p:cNvPicPr/>
                <p:nvPr/>
              </p:nvPicPr>
              <p:blipFill>
                <a:blip r:embed="rId134"/>
                <a:stretch>
                  <a:fillRect/>
                </a:stretch>
              </p:blipFill>
              <p:spPr>
                <a:xfrm>
                  <a:off x="4718301" y="5177456"/>
                  <a:ext cx="181800" cy="3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5">
              <p14:nvContentPartPr>
                <p14:cNvPr id="87" name="잉크 86">
                  <a:extLst>
                    <a:ext uri="{FF2B5EF4-FFF2-40B4-BE49-F238E27FC236}">
                      <a16:creationId xmlns:a16="http://schemas.microsoft.com/office/drawing/2014/main" id="{79AAA6EA-02C7-425E-8AC1-9F4C9F207064}"/>
                    </a:ext>
                  </a:extLst>
                </p14:cNvPr>
                <p14:cNvContentPartPr/>
                <p14:nvPr/>
              </p14:nvContentPartPr>
              <p14:xfrm>
                <a:off x="4743141" y="5192216"/>
                <a:ext cx="116640" cy="365400"/>
              </p14:xfrm>
            </p:contentPart>
          </mc:Choice>
          <mc:Fallback>
            <p:pic>
              <p:nvPicPr>
                <p:cNvPr id="87" name="잉크 86">
                  <a:extLst>
                    <a:ext uri="{FF2B5EF4-FFF2-40B4-BE49-F238E27FC236}">
                      <a16:creationId xmlns:a16="http://schemas.microsoft.com/office/drawing/2014/main" id="{79AAA6EA-02C7-425E-8AC1-9F4C9F207064}"/>
                    </a:ext>
                  </a:extLst>
                </p:cNvPr>
                <p:cNvPicPr/>
                <p:nvPr/>
              </p:nvPicPr>
              <p:blipFill>
                <a:blip r:embed="rId136"/>
                <a:stretch>
                  <a:fillRect/>
                </a:stretch>
              </p:blipFill>
              <p:spPr>
                <a:xfrm>
                  <a:off x="4734141" y="5183216"/>
                  <a:ext cx="134280" cy="383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7">
              <p14:nvContentPartPr>
                <p14:cNvPr id="88" name="잉크 87">
                  <a:extLst>
                    <a:ext uri="{FF2B5EF4-FFF2-40B4-BE49-F238E27FC236}">
                      <a16:creationId xmlns:a16="http://schemas.microsoft.com/office/drawing/2014/main" id="{2B26C551-0102-4C2E-83BA-F040938D544F}"/>
                    </a:ext>
                  </a:extLst>
                </p14:cNvPr>
                <p14:cNvContentPartPr/>
                <p14:nvPr/>
              </p14:nvContentPartPr>
              <p14:xfrm>
                <a:off x="5044101" y="5221376"/>
                <a:ext cx="164160" cy="223560"/>
              </p14:xfrm>
            </p:contentPart>
          </mc:Choice>
          <mc:Fallback>
            <p:pic>
              <p:nvPicPr>
                <p:cNvPr id="88" name="잉크 87">
                  <a:extLst>
                    <a:ext uri="{FF2B5EF4-FFF2-40B4-BE49-F238E27FC236}">
                      <a16:creationId xmlns:a16="http://schemas.microsoft.com/office/drawing/2014/main" id="{2B26C551-0102-4C2E-83BA-F040938D544F}"/>
                    </a:ext>
                  </a:extLst>
                </p:cNvPr>
                <p:cNvPicPr/>
                <p:nvPr/>
              </p:nvPicPr>
              <p:blipFill>
                <a:blip r:embed="rId138"/>
                <a:stretch>
                  <a:fillRect/>
                </a:stretch>
              </p:blipFill>
              <p:spPr>
                <a:xfrm>
                  <a:off x="5035461" y="5212736"/>
                  <a:ext cx="181800" cy="241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E8F777DA-03A8-4D17-B927-041E13C425C2}"/>
              </a:ext>
            </a:extLst>
          </p:cNvPr>
          <p:cNvGrpSpPr/>
          <p:nvPr/>
        </p:nvGrpSpPr>
        <p:grpSpPr>
          <a:xfrm>
            <a:off x="5739621" y="5126696"/>
            <a:ext cx="410400" cy="388080"/>
            <a:chOff x="5739621" y="5126696"/>
            <a:chExt cx="410400" cy="3880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39">
              <p14:nvContentPartPr>
                <p14:cNvPr id="90" name="잉크 89">
                  <a:extLst>
                    <a:ext uri="{FF2B5EF4-FFF2-40B4-BE49-F238E27FC236}">
                      <a16:creationId xmlns:a16="http://schemas.microsoft.com/office/drawing/2014/main" id="{DA58D0D7-AD3A-4677-AE7C-0D0B943E4C2D}"/>
                    </a:ext>
                  </a:extLst>
                </p14:cNvPr>
                <p14:cNvContentPartPr/>
                <p14:nvPr/>
              </p14:nvContentPartPr>
              <p14:xfrm>
                <a:off x="5739621" y="5151176"/>
                <a:ext cx="360" cy="138240"/>
              </p14:xfrm>
            </p:contentPart>
          </mc:Choice>
          <mc:Fallback>
            <p:pic>
              <p:nvPicPr>
                <p:cNvPr id="90" name="잉크 89">
                  <a:extLst>
                    <a:ext uri="{FF2B5EF4-FFF2-40B4-BE49-F238E27FC236}">
                      <a16:creationId xmlns:a16="http://schemas.microsoft.com/office/drawing/2014/main" id="{DA58D0D7-AD3A-4677-AE7C-0D0B943E4C2D}"/>
                    </a:ext>
                  </a:extLst>
                </p:cNvPr>
                <p:cNvPicPr/>
                <p:nvPr/>
              </p:nvPicPr>
              <p:blipFill>
                <a:blip r:embed="rId140"/>
                <a:stretch>
                  <a:fillRect/>
                </a:stretch>
              </p:blipFill>
              <p:spPr>
                <a:xfrm>
                  <a:off x="5730621" y="5142536"/>
                  <a:ext cx="18000" cy="15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1">
              <p14:nvContentPartPr>
                <p14:cNvPr id="91" name="잉크 90">
                  <a:extLst>
                    <a:ext uri="{FF2B5EF4-FFF2-40B4-BE49-F238E27FC236}">
                      <a16:creationId xmlns:a16="http://schemas.microsoft.com/office/drawing/2014/main" id="{99F927E5-315D-4BA4-8376-C5681E8B04F1}"/>
                    </a:ext>
                  </a:extLst>
                </p14:cNvPr>
                <p14:cNvContentPartPr/>
                <p14:nvPr/>
              </p14:nvContentPartPr>
              <p14:xfrm>
                <a:off x="5763741" y="5126696"/>
                <a:ext cx="191880" cy="388080"/>
              </p14:xfrm>
            </p:contentPart>
          </mc:Choice>
          <mc:Fallback>
            <p:pic>
              <p:nvPicPr>
                <p:cNvPr id="91" name="잉크 90">
                  <a:extLst>
                    <a:ext uri="{FF2B5EF4-FFF2-40B4-BE49-F238E27FC236}">
                      <a16:creationId xmlns:a16="http://schemas.microsoft.com/office/drawing/2014/main" id="{99F927E5-315D-4BA4-8376-C5681E8B04F1}"/>
                    </a:ext>
                  </a:extLst>
                </p:cNvPr>
                <p:cNvPicPr/>
                <p:nvPr/>
              </p:nvPicPr>
              <p:blipFill>
                <a:blip r:embed="rId142"/>
                <a:stretch>
                  <a:fillRect/>
                </a:stretch>
              </p:blipFill>
              <p:spPr>
                <a:xfrm>
                  <a:off x="5755101" y="5117696"/>
                  <a:ext cx="209520" cy="40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3">
              <p14:nvContentPartPr>
                <p14:cNvPr id="92" name="잉크 91">
                  <a:extLst>
                    <a:ext uri="{FF2B5EF4-FFF2-40B4-BE49-F238E27FC236}">
                      <a16:creationId xmlns:a16="http://schemas.microsoft.com/office/drawing/2014/main" id="{72935C0D-07C9-40AD-B079-2845CA57E854}"/>
                    </a:ext>
                  </a:extLst>
                </p14:cNvPr>
                <p14:cNvContentPartPr/>
                <p14:nvPr/>
              </p14:nvContentPartPr>
              <p14:xfrm>
                <a:off x="6040221" y="5173496"/>
                <a:ext cx="109800" cy="193320"/>
              </p14:xfrm>
            </p:contentPart>
          </mc:Choice>
          <mc:Fallback>
            <p:pic>
              <p:nvPicPr>
                <p:cNvPr id="92" name="잉크 91">
                  <a:extLst>
                    <a:ext uri="{FF2B5EF4-FFF2-40B4-BE49-F238E27FC236}">
                      <a16:creationId xmlns:a16="http://schemas.microsoft.com/office/drawing/2014/main" id="{72935C0D-07C9-40AD-B079-2845CA57E854}"/>
                    </a:ext>
                  </a:extLst>
                </p:cNvPr>
                <p:cNvPicPr/>
                <p:nvPr/>
              </p:nvPicPr>
              <p:blipFill>
                <a:blip r:embed="rId144"/>
                <a:stretch>
                  <a:fillRect/>
                </a:stretch>
              </p:blipFill>
              <p:spPr>
                <a:xfrm>
                  <a:off x="6031221" y="5164856"/>
                  <a:ext cx="127440" cy="210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97" name="그룹 96">
            <a:extLst>
              <a:ext uri="{FF2B5EF4-FFF2-40B4-BE49-F238E27FC236}">
                <a16:creationId xmlns:a16="http://schemas.microsoft.com/office/drawing/2014/main" id="{2491B94A-6472-4AD9-AD7B-17F95817AE23}"/>
              </a:ext>
            </a:extLst>
          </p:cNvPr>
          <p:cNvGrpSpPr/>
          <p:nvPr/>
        </p:nvGrpSpPr>
        <p:grpSpPr>
          <a:xfrm>
            <a:off x="6409221" y="5102216"/>
            <a:ext cx="381240" cy="351000"/>
            <a:chOff x="6409221" y="5102216"/>
            <a:chExt cx="381240" cy="3510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45">
              <p14:nvContentPartPr>
                <p14:cNvPr id="94" name="잉크 93">
                  <a:extLst>
                    <a:ext uri="{FF2B5EF4-FFF2-40B4-BE49-F238E27FC236}">
                      <a16:creationId xmlns:a16="http://schemas.microsoft.com/office/drawing/2014/main" id="{8FDEE8F4-C97F-4639-8FE2-E12E36135AFD}"/>
                    </a:ext>
                  </a:extLst>
                </p14:cNvPr>
                <p14:cNvContentPartPr/>
                <p14:nvPr/>
              </p14:nvContentPartPr>
              <p14:xfrm>
                <a:off x="6409221" y="5102216"/>
                <a:ext cx="32760" cy="135720"/>
              </p14:xfrm>
            </p:contentPart>
          </mc:Choice>
          <mc:Fallback>
            <p:pic>
              <p:nvPicPr>
                <p:cNvPr id="94" name="잉크 93">
                  <a:extLst>
                    <a:ext uri="{FF2B5EF4-FFF2-40B4-BE49-F238E27FC236}">
                      <a16:creationId xmlns:a16="http://schemas.microsoft.com/office/drawing/2014/main" id="{8FDEE8F4-C97F-4639-8FE2-E12E36135AFD}"/>
                    </a:ext>
                  </a:extLst>
                </p:cNvPr>
                <p:cNvPicPr/>
                <p:nvPr/>
              </p:nvPicPr>
              <p:blipFill>
                <a:blip r:embed="rId146"/>
                <a:stretch>
                  <a:fillRect/>
                </a:stretch>
              </p:blipFill>
              <p:spPr>
                <a:xfrm>
                  <a:off x="6400221" y="5093576"/>
                  <a:ext cx="50400" cy="15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7">
              <p14:nvContentPartPr>
                <p14:cNvPr id="95" name="잉크 94">
                  <a:extLst>
                    <a:ext uri="{FF2B5EF4-FFF2-40B4-BE49-F238E27FC236}">
                      <a16:creationId xmlns:a16="http://schemas.microsoft.com/office/drawing/2014/main" id="{DC60DA05-B9E6-4A3C-A392-B6CC94D893E3}"/>
                    </a:ext>
                  </a:extLst>
                </p14:cNvPr>
                <p14:cNvContentPartPr/>
                <p14:nvPr/>
              </p14:nvContentPartPr>
              <p14:xfrm>
                <a:off x="6449541" y="5141816"/>
                <a:ext cx="85320" cy="311400"/>
              </p14:xfrm>
            </p:contentPart>
          </mc:Choice>
          <mc:Fallback>
            <p:pic>
              <p:nvPicPr>
                <p:cNvPr id="95" name="잉크 94">
                  <a:extLst>
                    <a:ext uri="{FF2B5EF4-FFF2-40B4-BE49-F238E27FC236}">
                      <a16:creationId xmlns:a16="http://schemas.microsoft.com/office/drawing/2014/main" id="{DC60DA05-B9E6-4A3C-A392-B6CC94D893E3}"/>
                    </a:ext>
                  </a:extLst>
                </p:cNvPr>
                <p:cNvPicPr/>
                <p:nvPr/>
              </p:nvPicPr>
              <p:blipFill>
                <a:blip r:embed="rId148"/>
                <a:stretch>
                  <a:fillRect/>
                </a:stretch>
              </p:blipFill>
              <p:spPr>
                <a:xfrm>
                  <a:off x="6440901" y="5132816"/>
                  <a:ext cx="102960" cy="32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9">
              <p14:nvContentPartPr>
                <p14:cNvPr id="96" name="잉크 95">
                  <a:extLst>
                    <a:ext uri="{FF2B5EF4-FFF2-40B4-BE49-F238E27FC236}">
                      <a16:creationId xmlns:a16="http://schemas.microsoft.com/office/drawing/2014/main" id="{F42A43F9-61B2-4D3D-8C8E-D76AEEAC498C}"/>
                    </a:ext>
                  </a:extLst>
                </p14:cNvPr>
                <p14:cNvContentPartPr/>
                <p14:nvPr/>
              </p14:nvContentPartPr>
              <p14:xfrm>
                <a:off x="6653661" y="5190776"/>
                <a:ext cx="136800" cy="171720"/>
              </p14:xfrm>
            </p:contentPart>
          </mc:Choice>
          <mc:Fallback>
            <p:pic>
              <p:nvPicPr>
                <p:cNvPr id="96" name="잉크 95">
                  <a:extLst>
                    <a:ext uri="{FF2B5EF4-FFF2-40B4-BE49-F238E27FC236}">
                      <a16:creationId xmlns:a16="http://schemas.microsoft.com/office/drawing/2014/main" id="{F42A43F9-61B2-4D3D-8C8E-D76AEEAC498C}"/>
                    </a:ext>
                  </a:extLst>
                </p:cNvPr>
                <p:cNvPicPr/>
                <p:nvPr/>
              </p:nvPicPr>
              <p:blipFill>
                <a:blip r:embed="rId150"/>
                <a:stretch>
                  <a:fillRect/>
                </a:stretch>
              </p:blipFill>
              <p:spPr>
                <a:xfrm>
                  <a:off x="6645021" y="5181776"/>
                  <a:ext cx="154440" cy="189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03" name="그룹 102">
            <a:extLst>
              <a:ext uri="{FF2B5EF4-FFF2-40B4-BE49-F238E27FC236}">
                <a16:creationId xmlns:a16="http://schemas.microsoft.com/office/drawing/2014/main" id="{FD804B75-8187-4B66-B849-21C3AC3EA880}"/>
              </a:ext>
            </a:extLst>
          </p:cNvPr>
          <p:cNvGrpSpPr/>
          <p:nvPr/>
        </p:nvGrpSpPr>
        <p:grpSpPr>
          <a:xfrm>
            <a:off x="2930541" y="5853176"/>
            <a:ext cx="575280" cy="379440"/>
            <a:chOff x="2930541" y="5853176"/>
            <a:chExt cx="575280" cy="3794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51">
              <p14:nvContentPartPr>
                <p14:cNvPr id="98" name="잉크 97">
                  <a:extLst>
                    <a:ext uri="{FF2B5EF4-FFF2-40B4-BE49-F238E27FC236}">
                      <a16:creationId xmlns:a16="http://schemas.microsoft.com/office/drawing/2014/main" id="{C1FEF754-8060-4DE9-9EF7-49DDF9E04F5E}"/>
                    </a:ext>
                  </a:extLst>
                </p14:cNvPr>
                <p14:cNvContentPartPr/>
                <p14:nvPr/>
              </p14:nvContentPartPr>
              <p14:xfrm>
                <a:off x="2930541" y="5853176"/>
                <a:ext cx="239760" cy="379440"/>
              </p14:xfrm>
            </p:contentPart>
          </mc:Choice>
          <mc:Fallback>
            <p:pic>
              <p:nvPicPr>
                <p:cNvPr id="98" name="잉크 97">
                  <a:extLst>
                    <a:ext uri="{FF2B5EF4-FFF2-40B4-BE49-F238E27FC236}">
                      <a16:creationId xmlns:a16="http://schemas.microsoft.com/office/drawing/2014/main" id="{C1FEF754-8060-4DE9-9EF7-49DDF9E04F5E}"/>
                    </a:ext>
                  </a:extLst>
                </p:cNvPr>
                <p:cNvPicPr/>
                <p:nvPr/>
              </p:nvPicPr>
              <p:blipFill>
                <a:blip r:embed="rId152"/>
                <a:stretch>
                  <a:fillRect/>
                </a:stretch>
              </p:blipFill>
              <p:spPr>
                <a:xfrm>
                  <a:off x="2921901" y="5844536"/>
                  <a:ext cx="257400" cy="39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3">
              <p14:nvContentPartPr>
                <p14:cNvPr id="99" name="잉크 98">
                  <a:extLst>
                    <a:ext uri="{FF2B5EF4-FFF2-40B4-BE49-F238E27FC236}">
                      <a16:creationId xmlns:a16="http://schemas.microsoft.com/office/drawing/2014/main" id="{0EE1F87A-CE7A-4900-A48E-73A319E3D839}"/>
                    </a:ext>
                  </a:extLst>
                </p14:cNvPr>
                <p14:cNvContentPartPr/>
                <p14:nvPr/>
              </p14:nvContentPartPr>
              <p14:xfrm>
                <a:off x="3327981" y="5918696"/>
                <a:ext cx="177840" cy="239400"/>
              </p14:xfrm>
            </p:contentPart>
          </mc:Choice>
          <mc:Fallback>
            <p:pic>
              <p:nvPicPr>
                <p:cNvPr id="99" name="잉크 98">
                  <a:extLst>
                    <a:ext uri="{FF2B5EF4-FFF2-40B4-BE49-F238E27FC236}">
                      <a16:creationId xmlns:a16="http://schemas.microsoft.com/office/drawing/2014/main" id="{0EE1F87A-CE7A-4900-A48E-73A319E3D839}"/>
                    </a:ext>
                  </a:extLst>
                </p:cNvPr>
                <p:cNvPicPr/>
                <p:nvPr/>
              </p:nvPicPr>
              <p:blipFill>
                <a:blip r:embed="rId154"/>
                <a:stretch>
                  <a:fillRect/>
                </a:stretch>
              </p:blipFill>
              <p:spPr>
                <a:xfrm>
                  <a:off x="3319341" y="5910056"/>
                  <a:ext cx="195480" cy="2570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02" name="그룹 101">
            <a:extLst>
              <a:ext uri="{FF2B5EF4-FFF2-40B4-BE49-F238E27FC236}">
                <a16:creationId xmlns:a16="http://schemas.microsoft.com/office/drawing/2014/main" id="{D762B406-829E-4B7C-8ECE-9781FE3641D5}"/>
              </a:ext>
            </a:extLst>
          </p:cNvPr>
          <p:cNvGrpSpPr/>
          <p:nvPr/>
        </p:nvGrpSpPr>
        <p:grpSpPr>
          <a:xfrm>
            <a:off x="3894261" y="5861096"/>
            <a:ext cx="469440" cy="257760"/>
            <a:chOff x="3894261" y="5861096"/>
            <a:chExt cx="469440" cy="2577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55">
              <p14:nvContentPartPr>
                <p14:cNvPr id="100" name="잉크 99">
                  <a:extLst>
                    <a:ext uri="{FF2B5EF4-FFF2-40B4-BE49-F238E27FC236}">
                      <a16:creationId xmlns:a16="http://schemas.microsoft.com/office/drawing/2014/main" id="{CD5BCF64-6C6B-40DD-8E34-48B365C49B11}"/>
                    </a:ext>
                  </a:extLst>
                </p14:cNvPr>
                <p14:cNvContentPartPr/>
                <p14:nvPr/>
              </p14:nvContentPartPr>
              <p14:xfrm>
                <a:off x="3894261" y="5861096"/>
                <a:ext cx="197640" cy="257760"/>
              </p14:xfrm>
            </p:contentPart>
          </mc:Choice>
          <mc:Fallback>
            <p:pic>
              <p:nvPicPr>
                <p:cNvPr id="100" name="잉크 99">
                  <a:extLst>
                    <a:ext uri="{FF2B5EF4-FFF2-40B4-BE49-F238E27FC236}">
                      <a16:creationId xmlns:a16="http://schemas.microsoft.com/office/drawing/2014/main" id="{CD5BCF64-6C6B-40DD-8E34-48B365C49B11}"/>
                    </a:ext>
                  </a:extLst>
                </p:cNvPr>
                <p:cNvPicPr/>
                <p:nvPr/>
              </p:nvPicPr>
              <p:blipFill>
                <a:blip r:embed="rId156"/>
                <a:stretch>
                  <a:fillRect/>
                </a:stretch>
              </p:blipFill>
              <p:spPr>
                <a:xfrm>
                  <a:off x="3885261" y="5852456"/>
                  <a:ext cx="215280" cy="275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7">
              <p14:nvContentPartPr>
                <p14:cNvPr id="101" name="잉크 100">
                  <a:extLst>
                    <a:ext uri="{FF2B5EF4-FFF2-40B4-BE49-F238E27FC236}">
                      <a16:creationId xmlns:a16="http://schemas.microsoft.com/office/drawing/2014/main" id="{1B86E4E5-038A-445E-80C9-9D997469B937}"/>
                    </a:ext>
                  </a:extLst>
                </p14:cNvPr>
                <p14:cNvContentPartPr/>
                <p14:nvPr/>
              </p14:nvContentPartPr>
              <p14:xfrm>
                <a:off x="4220061" y="5972696"/>
                <a:ext cx="143640" cy="126360"/>
              </p14:xfrm>
            </p:contentPart>
          </mc:Choice>
          <mc:Fallback>
            <p:pic>
              <p:nvPicPr>
                <p:cNvPr id="101" name="잉크 100">
                  <a:extLst>
                    <a:ext uri="{FF2B5EF4-FFF2-40B4-BE49-F238E27FC236}">
                      <a16:creationId xmlns:a16="http://schemas.microsoft.com/office/drawing/2014/main" id="{1B86E4E5-038A-445E-80C9-9D997469B937}"/>
                    </a:ext>
                  </a:extLst>
                </p:cNvPr>
                <p:cNvPicPr/>
                <p:nvPr/>
              </p:nvPicPr>
              <p:blipFill>
                <a:blip r:embed="rId158"/>
                <a:stretch>
                  <a:fillRect/>
                </a:stretch>
              </p:blipFill>
              <p:spPr>
                <a:xfrm>
                  <a:off x="4211061" y="5964056"/>
                  <a:ext cx="161280" cy="144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1AB3F2E4-266D-48C5-80FF-F56648FA1594}"/>
              </a:ext>
            </a:extLst>
          </p:cNvPr>
          <p:cNvGrpSpPr/>
          <p:nvPr/>
        </p:nvGrpSpPr>
        <p:grpSpPr>
          <a:xfrm>
            <a:off x="4751781" y="5829056"/>
            <a:ext cx="459360" cy="357480"/>
            <a:chOff x="4751781" y="5829056"/>
            <a:chExt cx="459360" cy="3574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59">
              <p14:nvContentPartPr>
                <p14:cNvPr id="104" name="잉크 103">
                  <a:extLst>
                    <a:ext uri="{FF2B5EF4-FFF2-40B4-BE49-F238E27FC236}">
                      <a16:creationId xmlns:a16="http://schemas.microsoft.com/office/drawing/2014/main" id="{43E49268-AC4B-461E-91DA-1ABBBAD480BB}"/>
                    </a:ext>
                  </a:extLst>
                </p14:cNvPr>
                <p14:cNvContentPartPr/>
                <p14:nvPr/>
              </p14:nvContentPartPr>
              <p14:xfrm>
                <a:off x="4759701" y="5829056"/>
                <a:ext cx="113760" cy="360"/>
              </p14:xfrm>
            </p:contentPart>
          </mc:Choice>
          <mc:Fallback>
            <p:pic>
              <p:nvPicPr>
                <p:cNvPr id="104" name="잉크 103">
                  <a:extLst>
                    <a:ext uri="{FF2B5EF4-FFF2-40B4-BE49-F238E27FC236}">
                      <a16:creationId xmlns:a16="http://schemas.microsoft.com/office/drawing/2014/main" id="{43E49268-AC4B-461E-91DA-1ABBBAD480BB}"/>
                    </a:ext>
                  </a:extLst>
                </p:cNvPr>
                <p:cNvPicPr/>
                <p:nvPr/>
              </p:nvPicPr>
              <p:blipFill>
                <a:blip r:embed="rId160"/>
                <a:stretch>
                  <a:fillRect/>
                </a:stretch>
              </p:blipFill>
              <p:spPr>
                <a:xfrm>
                  <a:off x="4751061" y="5820056"/>
                  <a:ext cx="13140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1">
              <p14:nvContentPartPr>
                <p14:cNvPr id="105" name="잉크 104">
                  <a:extLst>
                    <a:ext uri="{FF2B5EF4-FFF2-40B4-BE49-F238E27FC236}">
                      <a16:creationId xmlns:a16="http://schemas.microsoft.com/office/drawing/2014/main" id="{C3F77CC7-4161-4D03-89C8-EE6AE2268E06}"/>
                    </a:ext>
                  </a:extLst>
                </p14:cNvPr>
                <p14:cNvContentPartPr/>
                <p14:nvPr/>
              </p14:nvContentPartPr>
              <p14:xfrm>
                <a:off x="4751781" y="5836976"/>
                <a:ext cx="126360" cy="349560"/>
              </p14:xfrm>
            </p:contentPart>
          </mc:Choice>
          <mc:Fallback>
            <p:pic>
              <p:nvPicPr>
                <p:cNvPr id="105" name="잉크 104">
                  <a:extLst>
                    <a:ext uri="{FF2B5EF4-FFF2-40B4-BE49-F238E27FC236}">
                      <a16:creationId xmlns:a16="http://schemas.microsoft.com/office/drawing/2014/main" id="{C3F77CC7-4161-4D03-89C8-EE6AE2268E06}"/>
                    </a:ext>
                  </a:extLst>
                </p:cNvPr>
                <p:cNvPicPr/>
                <p:nvPr/>
              </p:nvPicPr>
              <p:blipFill>
                <a:blip r:embed="rId162"/>
                <a:stretch>
                  <a:fillRect/>
                </a:stretch>
              </p:blipFill>
              <p:spPr>
                <a:xfrm>
                  <a:off x="4742781" y="5828336"/>
                  <a:ext cx="144000" cy="367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3">
              <p14:nvContentPartPr>
                <p14:cNvPr id="106" name="잉크 105">
                  <a:extLst>
                    <a:ext uri="{FF2B5EF4-FFF2-40B4-BE49-F238E27FC236}">
                      <a16:creationId xmlns:a16="http://schemas.microsoft.com/office/drawing/2014/main" id="{352104AD-B8FA-4A7F-8AD8-0F0E0D1966CF}"/>
                    </a:ext>
                  </a:extLst>
                </p14:cNvPr>
                <p14:cNvContentPartPr/>
                <p14:nvPr/>
              </p14:nvContentPartPr>
              <p14:xfrm>
                <a:off x="5044461" y="5895296"/>
                <a:ext cx="166680" cy="205200"/>
              </p14:xfrm>
            </p:contentPart>
          </mc:Choice>
          <mc:Fallback>
            <p:pic>
              <p:nvPicPr>
                <p:cNvPr id="106" name="잉크 105">
                  <a:extLst>
                    <a:ext uri="{FF2B5EF4-FFF2-40B4-BE49-F238E27FC236}">
                      <a16:creationId xmlns:a16="http://schemas.microsoft.com/office/drawing/2014/main" id="{352104AD-B8FA-4A7F-8AD8-0F0E0D1966CF}"/>
                    </a:ext>
                  </a:extLst>
                </p:cNvPr>
                <p:cNvPicPr/>
                <p:nvPr/>
              </p:nvPicPr>
              <p:blipFill>
                <a:blip r:embed="rId164"/>
                <a:stretch>
                  <a:fillRect/>
                </a:stretch>
              </p:blipFill>
              <p:spPr>
                <a:xfrm>
                  <a:off x="5035461" y="5886296"/>
                  <a:ext cx="184320" cy="222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4" name="그룹 113">
            <a:extLst>
              <a:ext uri="{FF2B5EF4-FFF2-40B4-BE49-F238E27FC236}">
                <a16:creationId xmlns:a16="http://schemas.microsoft.com/office/drawing/2014/main" id="{AD159205-F22C-4CCA-8058-92430713ABCD}"/>
              </a:ext>
            </a:extLst>
          </p:cNvPr>
          <p:cNvGrpSpPr/>
          <p:nvPr/>
        </p:nvGrpSpPr>
        <p:grpSpPr>
          <a:xfrm>
            <a:off x="6436941" y="5755256"/>
            <a:ext cx="380520" cy="343440"/>
            <a:chOff x="6436941" y="5755256"/>
            <a:chExt cx="380520" cy="3434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65">
              <p14:nvContentPartPr>
                <p14:cNvPr id="111" name="잉크 110">
                  <a:extLst>
                    <a:ext uri="{FF2B5EF4-FFF2-40B4-BE49-F238E27FC236}">
                      <a16:creationId xmlns:a16="http://schemas.microsoft.com/office/drawing/2014/main" id="{405C6844-76F4-4942-9F79-57C1A4424697}"/>
                    </a:ext>
                  </a:extLst>
                </p14:cNvPr>
                <p14:cNvContentPartPr/>
                <p14:nvPr/>
              </p14:nvContentPartPr>
              <p14:xfrm>
                <a:off x="6436941" y="5755256"/>
                <a:ext cx="37800" cy="80640"/>
              </p14:xfrm>
            </p:contentPart>
          </mc:Choice>
          <mc:Fallback>
            <p:pic>
              <p:nvPicPr>
                <p:cNvPr id="111" name="잉크 110">
                  <a:extLst>
                    <a:ext uri="{FF2B5EF4-FFF2-40B4-BE49-F238E27FC236}">
                      <a16:creationId xmlns:a16="http://schemas.microsoft.com/office/drawing/2014/main" id="{405C6844-76F4-4942-9F79-57C1A4424697}"/>
                    </a:ext>
                  </a:extLst>
                </p:cNvPr>
                <p:cNvPicPr/>
                <p:nvPr/>
              </p:nvPicPr>
              <p:blipFill>
                <a:blip r:embed="rId166"/>
                <a:stretch>
                  <a:fillRect/>
                </a:stretch>
              </p:blipFill>
              <p:spPr>
                <a:xfrm>
                  <a:off x="6427941" y="5746616"/>
                  <a:ext cx="55440" cy="9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7">
              <p14:nvContentPartPr>
                <p14:cNvPr id="112" name="잉크 111">
                  <a:extLst>
                    <a:ext uri="{FF2B5EF4-FFF2-40B4-BE49-F238E27FC236}">
                      <a16:creationId xmlns:a16="http://schemas.microsoft.com/office/drawing/2014/main" id="{AFA30959-27DD-4060-AE2A-E0293A6E809E}"/>
                    </a:ext>
                  </a:extLst>
                </p14:cNvPr>
                <p14:cNvContentPartPr/>
                <p14:nvPr/>
              </p14:nvContentPartPr>
              <p14:xfrm>
                <a:off x="6465741" y="5763896"/>
                <a:ext cx="156960" cy="334800"/>
              </p14:xfrm>
            </p:contentPart>
          </mc:Choice>
          <mc:Fallback>
            <p:pic>
              <p:nvPicPr>
                <p:cNvPr id="112" name="잉크 111">
                  <a:extLst>
                    <a:ext uri="{FF2B5EF4-FFF2-40B4-BE49-F238E27FC236}">
                      <a16:creationId xmlns:a16="http://schemas.microsoft.com/office/drawing/2014/main" id="{AFA30959-27DD-4060-AE2A-E0293A6E809E}"/>
                    </a:ext>
                  </a:extLst>
                </p:cNvPr>
                <p:cNvPicPr/>
                <p:nvPr/>
              </p:nvPicPr>
              <p:blipFill>
                <a:blip r:embed="rId168"/>
                <a:stretch>
                  <a:fillRect/>
                </a:stretch>
              </p:blipFill>
              <p:spPr>
                <a:xfrm>
                  <a:off x="6457101" y="5754896"/>
                  <a:ext cx="174600" cy="35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9">
              <p14:nvContentPartPr>
                <p14:cNvPr id="113" name="잉크 112">
                  <a:extLst>
                    <a:ext uri="{FF2B5EF4-FFF2-40B4-BE49-F238E27FC236}">
                      <a16:creationId xmlns:a16="http://schemas.microsoft.com/office/drawing/2014/main" id="{61C34B34-332F-4EFE-BCD4-C62668686B86}"/>
                    </a:ext>
                  </a:extLst>
                </p14:cNvPr>
                <p14:cNvContentPartPr/>
                <p14:nvPr/>
              </p14:nvContentPartPr>
              <p14:xfrm>
                <a:off x="6744021" y="5861816"/>
                <a:ext cx="73440" cy="214920"/>
              </p14:xfrm>
            </p:contentPart>
          </mc:Choice>
          <mc:Fallback>
            <p:pic>
              <p:nvPicPr>
                <p:cNvPr id="113" name="잉크 112">
                  <a:extLst>
                    <a:ext uri="{FF2B5EF4-FFF2-40B4-BE49-F238E27FC236}">
                      <a16:creationId xmlns:a16="http://schemas.microsoft.com/office/drawing/2014/main" id="{61C34B34-332F-4EFE-BCD4-C62668686B86}"/>
                    </a:ext>
                  </a:extLst>
                </p:cNvPr>
                <p:cNvPicPr/>
                <p:nvPr/>
              </p:nvPicPr>
              <p:blipFill>
                <a:blip r:embed="rId170"/>
                <a:stretch>
                  <a:fillRect/>
                </a:stretch>
              </p:blipFill>
              <p:spPr>
                <a:xfrm>
                  <a:off x="6735021" y="5852816"/>
                  <a:ext cx="91080" cy="232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7" name="그룹 116">
            <a:extLst>
              <a:ext uri="{FF2B5EF4-FFF2-40B4-BE49-F238E27FC236}">
                <a16:creationId xmlns:a16="http://schemas.microsoft.com/office/drawing/2014/main" id="{FE5F1006-25C7-413A-9C05-EE5F0C039C6B}"/>
              </a:ext>
            </a:extLst>
          </p:cNvPr>
          <p:cNvGrpSpPr/>
          <p:nvPr/>
        </p:nvGrpSpPr>
        <p:grpSpPr>
          <a:xfrm>
            <a:off x="5742141" y="5796296"/>
            <a:ext cx="448560" cy="358200"/>
            <a:chOff x="5742141" y="5796296"/>
            <a:chExt cx="448560" cy="3582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71">
              <p14:nvContentPartPr>
                <p14:cNvPr id="108" name="잉크 107">
                  <a:extLst>
                    <a:ext uri="{FF2B5EF4-FFF2-40B4-BE49-F238E27FC236}">
                      <a16:creationId xmlns:a16="http://schemas.microsoft.com/office/drawing/2014/main" id="{20DC3C3D-3BB8-463C-AE01-56F71C8CF0BA}"/>
                    </a:ext>
                  </a:extLst>
                </p14:cNvPr>
                <p14:cNvContentPartPr/>
                <p14:nvPr/>
              </p14:nvContentPartPr>
              <p14:xfrm>
                <a:off x="5742141" y="5796296"/>
                <a:ext cx="46440" cy="101880"/>
              </p14:xfrm>
            </p:contentPart>
          </mc:Choice>
          <mc:Fallback>
            <p:pic>
              <p:nvPicPr>
                <p:cNvPr id="108" name="잉크 107">
                  <a:extLst>
                    <a:ext uri="{FF2B5EF4-FFF2-40B4-BE49-F238E27FC236}">
                      <a16:creationId xmlns:a16="http://schemas.microsoft.com/office/drawing/2014/main" id="{20DC3C3D-3BB8-463C-AE01-56F71C8CF0BA}"/>
                    </a:ext>
                  </a:extLst>
                </p:cNvPr>
                <p:cNvPicPr/>
                <p:nvPr/>
              </p:nvPicPr>
              <p:blipFill>
                <a:blip r:embed="rId172"/>
                <a:stretch>
                  <a:fillRect/>
                </a:stretch>
              </p:blipFill>
              <p:spPr>
                <a:xfrm>
                  <a:off x="5733501" y="5787296"/>
                  <a:ext cx="64080" cy="119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3">
              <p14:nvContentPartPr>
                <p14:cNvPr id="109" name="잉크 108">
                  <a:extLst>
                    <a:ext uri="{FF2B5EF4-FFF2-40B4-BE49-F238E27FC236}">
                      <a16:creationId xmlns:a16="http://schemas.microsoft.com/office/drawing/2014/main" id="{27B357FC-4C22-4547-9F08-C1A2D629F6FD}"/>
                    </a:ext>
                  </a:extLst>
                </p14:cNvPr>
                <p14:cNvContentPartPr/>
                <p14:nvPr/>
              </p14:nvContentPartPr>
              <p14:xfrm>
                <a:off x="5779941" y="5820776"/>
                <a:ext cx="117000" cy="333720"/>
              </p14:xfrm>
            </p:contentPart>
          </mc:Choice>
          <mc:Fallback>
            <p:pic>
              <p:nvPicPr>
                <p:cNvPr id="109" name="잉크 108">
                  <a:extLst>
                    <a:ext uri="{FF2B5EF4-FFF2-40B4-BE49-F238E27FC236}">
                      <a16:creationId xmlns:a16="http://schemas.microsoft.com/office/drawing/2014/main" id="{27B357FC-4C22-4547-9F08-C1A2D629F6FD}"/>
                    </a:ext>
                  </a:extLst>
                </p:cNvPr>
                <p:cNvPicPr/>
                <p:nvPr/>
              </p:nvPicPr>
              <p:blipFill>
                <a:blip r:embed="rId174"/>
                <a:stretch>
                  <a:fillRect/>
                </a:stretch>
              </p:blipFill>
              <p:spPr>
                <a:xfrm>
                  <a:off x="5771301" y="5812136"/>
                  <a:ext cx="134640" cy="35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5">
              <p14:nvContentPartPr>
                <p14:cNvPr id="110" name="잉크 109">
                  <a:extLst>
                    <a:ext uri="{FF2B5EF4-FFF2-40B4-BE49-F238E27FC236}">
                      <a16:creationId xmlns:a16="http://schemas.microsoft.com/office/drawing/2014/main" id="{49E2A71A-695F-49B8-8DF4-31CCAA861701}"/>
                    </a:ext>
                  </a:extLst>
                </p14:cNvPr>
                <p14:cNvContentPartPr/>
                <p14:nvPr/>
              </p14:nvContentPartPr>
              <p14:xfrm>
                <a:off x="6040581" y="5951096"/>
                <a:ext cx="108360" cy="171720"/>
              </p14:xfrm>
            </p:contentPart>
          </mc:Choice>
          <mc:Fallback>
            <p:pic>
              <p:nvPicPr>
                <p:cNvPr id="110" name="잉크 109">
                  <a:extLst>
                    <a:ext uri="{FF2B5EF4-FFF2-40B4-BE49-F238E27FC236}">
                      <a16:creationId xmlns:a16="http://schemas.microsoft.com/office/drawing/2014/main" id="{49E2A71A-695F-49B8-8DF4-31CCAA861701}"/>
                    </a:ext>
                  </a:extLst>
                </p:cNvPr>
                <p:cNvPicPr/>
                <p:nvPr/>
              </p:nvPicPr>
              <p:blipFill>
                <a:blip r:embed="rId176"/>
                <a:stretch>
                  <a:fillRect/>
                </a:stretch>
              </p:blipFill>
              <p:spPr>
                <a:xfrm>
                  <a:off x="6031581" y="5942456"/>
                  <a:ext cx="126000" cy="18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7">
              <p14:nvContentPartPr>
                <p14:cNvPr id="116" name="잉크 115">
                  <a:extLst>
                    <a:ext uri="{FF2B5EF4-FFF2-40B4-BE49-F238E27FC236}">
                      <a16:creationId xmlns:a16="http://schemas.microsoft.com/office/drawing/2014/main" id="{6E0335BB-16E0-47DD-948C-3D4273AB0E6B}"/>
                    </a:ext>
                  </a:extLst>
                </p14:cNvPr>
                <p14:cNvContentPartPr/>
                <p14:nvPr/>
              </p14:nvContentPartPr>
              <p14:xfrm>
                <a:off x="6000621" y="5869376"/>
                <a:ext cx="190080" cy="114480"/>
              </p14:xfrm>
            </p:contentPart>
          </mc:Choice>
          <mc:Fallback>
            <p:pic>
              <p:nvPicPr>
                <p:cNvPr id="116" name="잉크 115">
                  <a:extLst>
                    <a:ext uri="{FF2B5EF4-FFF2-40B4-BE49-F238E27FC236}">
                      <a16:creationId xmlns:a16="http://schemas.microsoft.com/office/drawing/2014/main" id="{6E0335BB-16E0-47DD-948C-3D4273AB0E6B}"/>
                    </a:ext>
                  </a:extLst>
                </p:cNvPr>
                <p:cNvPicPr/>
                <p:nvPr/>
              </p:nvPicPr>
              <p:blipFill>
                <a:blip r:embed="rId178"/>
                <a:stretch>
                  <a:fillRect/>
                </a:stretch>
              </p:blipFill>
              <p:spPr>
                <a:xfrm>
                  <a:off x="5991621" y="5860376"/>
                  <a:ext cx="207720" cy="1321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87947538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7D854-1741-8590-B1E1-A1A8E5472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9DC06AE-8DC9-4BF7-601E-43DFE1C98F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E6DCD88-DAF8-CD3D-F2FC-41B68498694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5C34ED0-C299-F74C-6174-A99BC16F36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9599" y="1190312"/>
            <a:ext cx="8792802" cy="447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39613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F1D572-F331-6A4C-7E2C-87B51272D8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9CAFDC9-3CAD-7BFF-7B0F-6F445E893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8BD2190-A43B-DB17-4151-BC2D22FC56E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0E959B3-027C-524B-ACA2-C937A3AB32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2970" y="1309391"/>
            <a:ext cx="4906060" cy="42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30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2D79C-F60F-B2A1-304C-9F081440CA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507EB3F-5D29-9E4A-0B06-B8560CB51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AAC37F5-02DF-4DAE-BEFD-990D4636455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12FBBCB4-596A-9806-BFD9-B1C5BECFB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8546" y="1195075"/>
            <a:ext cx="9554908" cy="446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02074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6AFD61-612A-7CA8-C1A0-3B201BE5FA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E01AD28-10F8-2D95-BF9F-1935691944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B2F2FF7-0F52-F30C-334F-AB34869D790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643DF2B-CB52-B1D0-0821-F5AD752598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7180" y="1599944"/>
            <a:ext cx="5477639" cy="365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51227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E1F0DA-BAEF-2DF4-7298-A6E3BD7670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9D7549-BC08-0DE8-CFD4-D07BFD132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1BC88F5-B131-54B2-845C-808E95A6B9F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3E3F57B-C136-68DE-11E6-D3C35CC470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653" y="1742839"/>
            <a:ext cx="5858693" cy="3372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262128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71E929-B51B-C19E-25DA-8841C0125A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8578995-2086-C78D-6096-22A0DE370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C3355F5-586F-EC85-7C65-340C2F01A58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73C1E31-3814-DBAB-5400-039882DA98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5730" y="1333207"/>
            <a:ext cx="9240540" cy="419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31235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1C02A65C-C5E1-46EE-9532-14167A27AC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0976" y="60678"/>
            <a:ext cx="4770047" cy="6736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710040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00A758-101D-D9E3-3064-D30EC1DFC7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78468EA8-D5D6-0966-33A7-C7C2CCFAA5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992" y="547285"/>
            <a:ext cx="11222016" cy="5763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073920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CC1F0776-3F74-23DD-A964-6584B6E888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3484" y="653663"/>
            <a:ext cx="5365031" cy="5550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25812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51AE54F7-EB37-B22B-3989-2A15B3097D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834" y="1371313"/>
            <a:ext cx="11336332" cy="4115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36120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726305-2713-7B49-47C4-870F66B3BC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53B8B2AB-D73F-4976-574B-C5C4B8067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1" y="1480865"/>
            <a:ext cx="12127017" cy="3896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722953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15AA4A-1793-0FEA-2693-5093AC01E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291BD0C1-7B44-DDE6-D227-18B9E1AB50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84384"/>
            <a:ext cx="12192000" cy="4689231"/>
          </a:xfrm>
          <a:prstGeom prst="rect">
            <a:avLst/>
          </a:prstGeom>
        </p:spPr>
      </p:pic>
      <p:grpSp>
        <p:nvGrpSpPr>
          <p:cNvPr id="8" name="그룹 7">
            <a:extLst>
              <a:ext uri="{FF2B5EF4-FFF2-40B4-BE49-F238E27FC236}">
                <a16:creationId xmlns:a16="http://schemas.microsoft.com/office/drawing/2014/main" id="{C30E51DF-4FD5-42D0-A1A5-26C03B83B398}"/>
              </a:ext>
            </a:extLst>
          </p:cNvPr>
          <p:cNvGrpSpPr/>
          <p:nvPr/>
        </p:nvGrpSpPr>
        <p:grpSpPr>
          <a:xfrm>
            <a:off x="628341" y="4705856"/>
            <a:ext cx="10475280" cy="1215720"/>
            <a:chOff x="628341" y="4705856"/>
            <a:chExt cx="10475280" cy="12157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22E52148-254E-4376-AF12-4F1A7985A140}"/>
                    </a:ext>
                  </a:extLst>
                </p14:cNvPr>
                <p14:cNvContentPartPr/>
                <p14:nvPr/>
              </p14:nvContentPartPr>
              <p14:xfrm>
                <a:off x="628341" y="5004296"/>
                <a:ext cx="10128960" cy="917280"/>
              </p14:xfrm>
            </p:contentPart>
          </mc:Choice>
          <mc:Fallback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22E52148-254E-4376-AF12-4F1A7985A140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619341" y="4995656"/>
                  <a:ext cx="10146600" cy="93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">
              <p14:nvContentPartPr>
                <p14:cNvPr id="4" name="잉크 3">
                  <a:extLst>
                    <a:ext uri="{FF2B5EF4-FFF2-40B4-BE49-F238E27FC236}">
                      <a16:creationId xmlns:a16="http://schemas.microsoft.com/office/drawing/2014/main" id="{3A3F98D9-2695-426D-AE7F-F16F3C9E907E}"/>
                    </a:ext>
                  </a:extLst>
                </p14:cNvPr>
                <p14:cNvContentPartPr/>
                <p14:nvPr/>
              </p14:nvContentPartPr>
              <p14:xfrm>
                <a:off x="1359141" y="4841216"/>
                <a:ext cx="9744480" cy="471600"/>
              </p14:xfrm>
            </p:contentPart>
          </mc:Choice>
          <mc:Fallback>
            <p:pic>
              <p:nvPicPr>
                <p:cNvPr id="4" name="잉크 3">
                  <a:extLst>
                    <a:ext uri="{FF2B5EF4-FFF2-40B4-BE49-F238E27FC236}">
                      <a16:creationId xmlns:a16="http://schemas.microsoft.com/office/drawing/2014/main" id="{3A3F98D9-2695-426D-AE7F-F16F3C9E907E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350501" y="4832216"/>
                  <a:ext cx="9762120" cy="48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C532642B-16D6-4589-9512-555AA5F70891}"/>
                    </a:ext>
                  </a:extLst>
                </p14:cNvPr>
                <p14:cNvContentPartPr/>
                <p14:nvPr/>
              </p14:nvContentPartPr>
              <p14:xfrm>
                <a:off x="1534821" y="4705856"/>
                <a:ext cx="8949600" cy="87876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C532642B-16D6-4589-9512-555AA5F70891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525821" y="4696856"/>
                  <a:ext cx="8967240" cy="896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">
              <p14:nvContentPartPr>
                <p14:cNvPr id="6" name="잉크 5">
                  <a:extLst>
                    <a:ext uri="{FF2B5EF4-FFF2-40B4-BE49-F238E27FC236}">
                      <a16:creationId xmlns:a16="http://schemas.microsoft.com/office/drawing/2014/main" id="{B592FDA0-4F26-4068-96DE-E600BFBD148F}"/>
                    </a:ext>
                  </a:extLst>
                </p14:cNvPr>
                <p14:cNvContentPartPr/>
                <p14:nvPr/>
              </p14:nvContentPartPr>
              <p14:xfrm>
                <a:off x="2173821" y="5216696"/>
                <a:ext cx="8480880" cy="695520"/>
              </p14:xfrm>
            </p:contentPart>
          </mc:Choice>
          <mc:Fallback>
            <p:pic>
              <p:nvPicPr>
                <p:cNvPr id="6" name="잉크 5">
                  <a:extLst>
                    <a:ext uri="{FF2B5EF4-FFF2-40B4-BE49-F238E27FC236}">
                      <a16:creationId xmlns:a16="http://schemas.microsoft.com/office/drawing/2014/main" id="{B592FDA0-4F26-4068-96DE-E600BFBD148F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2164821" y="5208056"/>
                  <a:ext cx="8498520" cy="71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7ECD0C86-3ACB-4B45-81D3-98E6603343AC}"/>
                    </a:ext>
                  </a:extLst>
                </p14:cNvPr>
                <p14:cNvContentPartPr/>
                <p14:nvPr/>
              </p14:nvContentPartPr>
              <p14:xfrm>
                <a:off x="1917861" y="4976936"/>
                <a:ext cx="8896320" cy="684360"/>
              </p14:xfrm>
            </p:contentPart>
          </mc:Choice>
          <mc:Fallback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7ECD0C86-3ACB-4B45-81D3-98E6603343AC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1909221" y="4968296"/>
                  <a:ext cx="8913960" cy="7020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394311336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100873-D953-7862-01E3-A4F7E43AC4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B078C7F5-BF47-03D2-7285-B902BF4DA7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334" y="1018838"/>
            <a:ext cx="10793331" cy="4820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003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41</TotalTime>
  <Words>509</Words>
  <Application>Microsoft Office PowerPoint</Application>
  <PresentationFormat>와이드스크린</PresentationFormat>
  <Paragraphs>288</Paragraphs>
  <Slides>135</Slides>
  <Notes>92</Notes>
  <HiddenSlides>0</HiddenSlides>
  <MMClips>0</MMClips>
  <ScaleCrop>false</ScaleCrop>
  <HeadingPairs>
    <vt:vector size="6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35</vt:i4>
      </vt:variant>
    </vt:vector>
  </HeadingPairs>
  <TitlesOfParts>
    <vt:vector size="139" baseType="lpstr">
      <vt:lpstr>Arial</vt:lpstr>
      <vt:lpstr>나눔스퀘어 ExtraBold</vt:lpstr>
      <vt:lpstr>맑은 고딕</vt:lpstr>
      <vt:lpstr>Office 테마</vt:lpstr>
      <vt:lpstr>https://youtu.be/AXB6r-hjsig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Registered User</dc:creator>
  <cp:lastModifiedBy>109-1</cp:lastModifiedBy>
  <cp:revision>217</cp:revision>
  <cp:lastPrinted>2019-09-22T23:57:17Z</cp:lastPrinted>
  <dcterms:created xsi:type="dcterms:W3CDTF">2019-09-22T16:47:45Z</dcterms:created>
  <dcterms:modified xsi:type="dcterms:W3CDTF">2024-11-28T07:3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SCPROP_SA">
    <vt:lpwstr>C:\Users\Administrator\Desktop\19.09.23 이재용교수님 총장발표\류석총장발표_수정.pptx</vt:lpwstr>
  </property>
</Properties>
</file>